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2"/>
  </p:notesMasterIdLst>
  <p:handoutMasterIdLst>
    <p:handoutMasterId r:id="rId13"/>
  </p:handoutMasterIdLst>
  <p:sldIdLst>
    <p:sldId id="293" r:id="rId2"/>
    <p:sldId id="305" r:id="rId3"/>
    <p:sldId id="306" r:id="rId4"/>
    <p:sldId id="309" r:id="rId5"/>
    <p:sldId id="294" r:id="rId6"/>
    <p:sldId id="288" r:id="rId7"/>
    <p:sldId id="289" r:id="rId8"/>
    <p:sldId id="303" r:id="rId9"/>
    <p:sldId id="308" r:id="rId10"/>
    <p:sldId id="298" r:id="rId11"/>
  </p:sldIdLst>
  <p:sldSz cx="12195175" cy="6858000"/>
  <p:notesSz cx="6797675" cy="9926638"/>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orient="horz" pos="943">
          <p15:clr>
            <a:srgbClr val="A4A3A4"/>
          </p15:clr>
        </p15:guide>
        <p15:guide id="3" orient="horz" pos="3518">
          <p15:clr>
            <a:srgbClr val="A4A3A4"/>
          </p15:clr>
        </p15:guide>
        <p15:guide id="4" orient="horz" pos="968">
          <p15:clr>
            <a:srgbClr val="A4A3A4"/>
          </p15:clr>
        </p15:guide>
        <p15:guide id="5" pos="3841">
          <p15:clr>
            <a:srgbClr val="A4A3A4"/>
          </p15:clr>
        </p15:guide>
        <p15:guide id="6" pos="276">
          <p15:clr>
            <a:srgbClr val="A4A3A4"/>
          </p15:clr>
        </p15:guide>
        <p15:guide id="7" pos="7412">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39700"/>
    <a:srgbClr val="E31C79"/>
    <a:srgbClr val="8B2CB1"/>
    <a:srgbClr val="99C900"/>
    <a:srgbClr val="000000"/>
    <a:srgbClr val="A8AAAD"/>
    <a:srgbClr val="FF9900"/>
    <a:srgbClr val="F29000"/>
    <a:srgbClr val="F2960E"/>
    <a:srgbClr val="EFA0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1D1A7F-0A41-417D-8E12-A83C4B633E79}" v="2" dt="2024-03-13T15:49:00.9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p:restoredLeft sz="8521" autoAdjust="0"/>
    <p:restoredTop sz="95473" autoAdjust="0"/>
  </p:normalViewPr>
  <p:slideViewPr>
    <p:cSldViewPr snapToGrid="0" snapToObjects="1" showGuides="1">
      <p:cViewPr>
        <p:scale>
          <a:sx n="74" d="100"/>
          <a:sy n="74" d="100"/>
        </p:scale>
        <p:origin x="115" y="62"/>
      </p:cViewPr>
      <p:guideLst>
        <p:guide orient="horz" pos="2183"/>
        <p:guide orient="horz" pos="943"/>
        <p:guide orient="horz" pos="3518"/>
        <p:guide orient="horz" pos="968"/>
        <p:guide pos="3841"/>
        <p:guide pos="276"/>
        <p:guide pos="7412"/>
      </p:guideLst>
    </p:cSldViewPr>
  </p:slideViewPr>
  <p:notesTextViewPr>
    <p:cViewPr>
      <p:scale>
        <a:sx n="1" d="1"/>
        <a:sy n="1" d="1"/>
      </p:scale>
      <p:origin x="0" y="0"/>
    </p:cViewPr>
  </p:notesTextViewPr>
  <p:sorterViewPr>
    <p:cViewPr>
      <p:scale>
        <a:sx n="140" d="100"/>
        <a:sy n="140" d="100"/>
      </p:scale>
      <p:origin x="0" y="0"/>
    </p:cViewPr>
  </p:sorterViewPr>
  <p:notesViewPr>
    <p:cSldViewPr snapToGrid="0" snapToObjects="1">
      <p:cViewPr varScale="1">
        <p:scale>
          <a:sx n="88" d="100"/>
          <a:sy n="88" d="100"/>
        </p:scale>
        <p:origin x="-3870" y="-12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zzy Jones (UK)" userId="ec1cbb14-5b14-4026-abe9-7fc628623d5d" providerId="ADAL" clId="{FA1D1A7F-0A41-417D-8E12-A83C4B633E79}"/>
    <pc:docChg chg="custSel modSld replTag">
      <pc:chgData name="Izzy Jones (UK)" userId="ec1cbb14-5b14-4026-abe9-7fc628623d5d" providerId="ADAL" clId="{FA1D1A7F-0A41-417D-8E12-A83C4B633E79}" dt="2024-03-15T15:50:29.562" v="20"/>
      <pc:docMkLst>
        <pc:docMk/>
      </pc:docMkLst>
      <pc:sldChg chg="mod">
        <pc:chgData name="Izzy Jones (UK)" userId="ec1cbb14-5b14-4026-abe9-7fc628623d5d" providerId="ADAL" clId="{FA1D1A7F-0A41-417D-8E12-A83C4B633E79}" dt="2024-03-13T15:49:00.930" v="13" actId="27918"/>
        <pc:sldMkLst>
          <pc:docMk/>
          <pc:sldMk cId="873996093" sldId="305"/>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Out of Home Advertising Revenue'!$A$31</c:f>
              <c:strCache>
                <c:ptCount val="1"/>
                <c:pt idx="0">
                  <c:v>Total</c:v>
                </c:pt>
              </c:strCache>
            </c:strRef>
          </c:tx>
          <c:spPr>
            <a:solidFill>
              <a:srgbClr val="7030A0"/>
            </a:solidFill>
            <a:ln>
              <a:noFill/>
            </a:ln>
            <a:effectLst/>
          </c:spPr>
          <c:invertIfNegative val="0"/>
          <c:dPt>
            <c:idx val="10"/>
            <c:invertIfNegative val="0"/>
            <c:bubble3D val="0"/>
            <c:spPr>
              <a:solidFill>
                <a:srgbClr val="7030A0"/>
              </a:solidFill>
              <a:ln>
                <a:noFill/>
              </a:ln>
              <a:effectLst/>
            </c:spPr>
            <c:extLst>
              <c:ext xmlns:c16="http://schemas.microsoft.com/office/drawing/2014/chart" uri="{C3380CC4-5D6E-409C-BE32-E72D297353CC}">
                <c16:uniqueId val="{00000001-5A84-401C-8B19-0449EC20D69D}"/>
              </c:ext>
            </c:extLst>
          </c:dPt>
          <c:dPt>
            <c:idx val="11"/>
            <c:invertIfNegative val="0"/>
            <c:bubble3D val="0"/>
            <c:spPr>
              <a:solidFill>
                <a:srgbClr val="7030A0"/>
              </a:solidFill>
              <a:ln>
                <a:noFill/>
              </a:ln>
              <a:effectLst/>
            </c:spPr>
            <c:extLst>
              <c:ext xmlns:c16="http://schemas.microsoft.com/office/drawing/2014/chart" uri="{C3380CC4-5D6E-409C-BE32-E72D297353CC}">
                <c16:uniqueId val="{00000003-94AB-40D1-87F2-97A47595FAB7}"/>
              </c:ext>
            </c:extLst>
          </c:dPt>
          <c:dPt>
            <c:idx val="12"/>
            <c:invertIfNegative val="0"/>
            <c:bubble3D val="0"/>
            <c:spPr>
              <a:solidFill>
                <a:srgbClr val="8B2CB1"/>
              </a:solidFill>
              <a:ln>
                <a:noFill/>
              </a:ln>
              <a:effectLst/>
            </c:spPr>
            <c:extLst>
              <c:ext xmlns:c16="http://schemas.microsoft.com/office/drawing/2014/chart" uri="{C3380CC4-5D6E-409C-BE32-E72D297353CC}">
                <c16:uniqueId val="{00000005-E9BF-43C9-9366-B2E2B119D7C2}"/>
              </c:ext>
            </c:extLst>
          </c:dPt>
          <c:dPt>
            <c:idx val="13"/>
            <c:invertIfNegative val="0"/>
            <c:bubble3D val="0"/>
            <c:spPr>
              <a:solidFill>
                <a:srgbClr val="739700"/>
              </a:solidFill>
              <a:ln>
                <a:noFill/>
              </a:ln>
              <a:effectLst/>
            </c:spPr>
            <c:extLst>
              <c:ext xmlns:c16="http://schemas.microsoft.com/office/drawing/2014/chart" uri="{C3380CC4-5D6E-409C-BE32-E72D297353CC}">
                <c16:uniqueId val="{00000006-B12F-4D7E-90AA-C62447C358FA}"/>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ut of Home Advertising Revenue'!$B$6:$O$6</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formatCode="#,##0">
                  <c:v>2023</c:v>
                </c:pt>
              </c:numCache>
            </c:numRef>
          </c:cat>
          <c:val>
            <c:numRef>
              <c:f>'Out of Home Advertising Revenue'!$B$31:$O$31</c:f>
              <c:numCache>
                <c:formatCode>"£"#,##0_);[Red]\("£"#,##0\)</c:formatCode>
                <c:ptCount val="14"/>
                <c:pt idx="0">
                  <c:v>879836142</c:v>
                </c:pt>
                <c:pt idx="1">
                  <c:v>906915455</c:v>
                </c:pt>
                <c:pt idx="2">
                  <c:v>970146200</c:v>
                </c:pt>
                <c:pt idx="3">
                  <c:v>989619580</c:v>
                </c:pt>
                <c:pt idx="4">
                  <c:v>1018992650.05</c:v>
                </c:pt>
                <c:pt idx="5" formatCode="&quot;£&quot;#,##0">
                  <c:v>1057948718</c:v>
                </c:pt>
                <c:pt idx="6">
                  <c:v>1127520232.1122451</c:v>
                </c:pt>
                <c:pt idx="7">
                  <c:v>1144300360.5805056</c:v>
                </c:pt>
                <c:pt idx="8">
                  <c:v>1209056085.1260052</c:v>
                </c:pt>
                <c:pt idx="9">
                  <c:v>1300818483.3802238</c:v>
                </c:pt>
                <c:pt idx="10">
                  <c:v>699134101.17822468</c:v>
                </c:pt>
                <c:pt idx="11" formatCode="_(* #,##0_);_(* \(#,##0\);_(* &quot;-&quot;_);@_)">
                  <c:v>901318836.11286616</c:v>
                </c:pt>
                <c:pt idx="12" formatCode="#,##0">
                  <c:v>1179756316</c:v>
                </c:pt>
                <c:pt idx="13" formatCode="#,##0">
                  <c:v>1295253687</c:v>
                </c:pt>
              </c:numCache>
            </c:numRef>
          </c:val>
          <c:extLst>
            <c:ext xmlns:c16="http://schemas.microsoft.com/office/drawing/2014/chart" uri="{C3380CC4-5D6E-409C-BE32-E72D297353CC}">
              <c16:uniqueId val="{00000000-5A84-401C-8B19-0449EC20D69D}"/>
            </c:ext>
          </c:extLst>
        </c:ser>
        <c:dLbls>
          <c:showLegendKey val="0"/>
          <c:showVal val="0"/>
          <c:showCatName val="0"/>
          <c:showSerName val="0"/>
          <c:showPercent val="0"/>
          <c:showBubbleSize val="0"/>
        </c:dLbls>
        <c:gapWidth val="219"/>
        <c:overlap val="-27"/>
        <c:axId val="1072185936"/>
        <c:axId val="927783072"/>
      </c:barChart>
      <c:catAx>
        <c:axId val="1072185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7783072"/>
        <c:crosses val="autoZero"/>
        <c:auto val="1"/>
        <c:lblAlgn val="ctr"/>
        <c:lblOffset val="100"/>
        <c:noMultiLvlLbl val="0"/>
      </c:catAx>
      <c:valAx>
        <c:axId val="927783072"/>
        <c:scaling>
          <c:orientation val="minMax"/>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2185936"/>
        <c:crosses val="autoZero"/>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000"/>
              <a:t>£m</a:t>
            </a:r>
          </a:p>
        </c:rich>
      </c:tx>
      <c:layout>
        <c:manualLayout>
          <c:xMode val="edge"/>
          <c:yMode val="edge"/>
          <c:x val="1.5194444444444399E-2"/>
          <c:y val="3.240740740740739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OOH Revenue by Quarter'!$A$8</c:f>
              <c:strCache>
                <c:ptCount val="1"/>
                <c:pt idx="0">
                  <c:v>Q1</c:v>
                </c:pt>
              </c:strCache>
            </c:strRef>
          </c:tx>
          <c:spPr>
            <a:solidFill>
              <a:schemeClr val="accent1"/>
            </a:solidFill>
            <a:ln>
              <a:noFill/>
            </a:ln>
            <a:effectLst/>
          </c:spPr>
          <c:invertIfNegative val="0"/>
          <c:cat>
            <c:numRef>
              <c:f>'OOH Revenue by Quarter'!$B$7:$O$7</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OOH Revenue by Quarter'!$B$8:$O$8</c:f>
              <c:numCache>
                <c:formatCode>0</c:formatCode>
                <c:ptCount val="14"/>
                <c:pt idx="0">
                  <c:v>204</c:v>
                </c:pt>
                <c:pt idx="1">
                  <c:v>207</c:v>
                </c:pt>
                <c:pt idx="2">
                  <c:v>213</c:v>
                </c:pt>
                <c:pt idx="3">
                  <c:v>213</c:v>
                </c:pt>
                <c:pt idx="4">
                  <c:v>209</c:v>
                </c:pt>
                <c:pt idx="5">
                  <c:v>228</c:v>
                </c:pt>
                <c:pt idx="6">
                  <c:v>254.29837551020407</c:v>
                </c:pt>
                <c:pt idx="7">
                  <c:v>253.3961011430234</c:v>
                </c:pt>
                <c:pt idx="8">
                  <c:v>266.90127699999999</c:v>
                </c:pt>
                <c:pt idx="9">
                  <c:v>285.13241499999998</c:v>
                </c:pt>
                <c:pt idx="10">
                  <c:v>276.32252122558202</c:v>
                </c:pt>
                <c:pt idx="11">
                  <c:v>96.885563372517097</c:v>
                </c:pt>
                <c:pt idx="12">
                  <c:v>238.49554000000001</c:v>
                </c:pt>
                <c:pt idx="13">
                  <c:v>250.59165400000001</c:v>
                </c:pt>
              </c:numCache>
            </c:numRef>
          </c:val>
          <c:extLst>
            <c:ext xmlns:c16="http://schemas.microsoft.com/office/drawing/2014/chart" uri="{C3380CC4-5D6E-409C-BE32-E72D297353CC}">
              <c16:uniqueId val="{00000000-73EC-4F68-8049-6B36AB5C1ED9}"/>
            </c:ext>
          </c:extLst>
        </c:ser>
        <c:ser>
          <c:idx val="1"/>
          <c:order val="1"/>
          <c:tx>
            <c:strRef>
              <c:f>'OOH Revenue by Quarter'!$A$9</c:f>
              <c:strCache>
                <c:ptCount val="1"/>
                <c:pt idx="0">
                  <c:v>Q2</c:v>
                </c:pt>
              </c:strCache>
            </c:strRef>
          </c:tx>
          <c:spPr>
            <a:solidFill>
              <a:schemeClr val="accent2"/>
            </a:solidFill>
            <a:ln>
              <a:noFill/>
            </a:ln>
            <a:effectLst/>
          </c:spPr>
          <c:invertIfNegative val="0"/>
          <c:cat>
            <c:numRef>
              <c:f>'OOH Revenue by Quarter'!$B$7:$O$7</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OOH Revenue by Quarter'!$B$9:$O$9</c:f>
              <c:numCache>
                <c:formatCode>0</c:formatCode>
                <c:ptCount val="14"/>
                <c:pt idx="0">
                  <c:v>211</c:v>
                </c:pt>
                <c:pt idx="1">
                  <c:v>229</c:v>
                </c:pt>
                <c:pt idx="2">
                  <c:v>229</c:v>
                </c:pt>
                <c:pt idx="3">
                  <c:v>243</c:v>
                </c:pt>
                <c:pt idx="4">
                  <c:v>259</c:v>
                </c:pt>
                <c:pt idx="5">
                  <c:v>249</c:v>
                </c:pt>
                <c:pt idx="6">
                  <c:v>273.9442346938776</c:v>
                </c:pt>
                <c:pt idx="7">
                  <c:v>279.52578959415229</c:v>
                </c:pt>
                <c:pt idx="8">
                  <c:v>283.72737489534597</c:v>
                </c:pt>
                <c:pt idx="9">
                  <c:v>310.45233400000001</c:v>
                </c:pt>
                <c:pt idx="10">
                  <c:v>52.649205518690799</c:v>
                </c:pt>
                <c:pt idx="11">
                  <c:v>198.37723094896401</c:v>
                </c:pt>
                <c:pt idx="12">
                  <c:v>290.46523059173302</c:v>
                </c:pt>
                <c:pt idx="13">
                  <c:v>303</c:v>
                </c:pt>
              </c:numCache>
            </c:numRef>
          </c:val>
          <c:extLst>
            <c:ext xmlns:c16="http://schemas.microsoft.com/office/drawing/2014/chart" uri="{C3380CC4-5D6E-409C-BE32-E72D297353CC}">
              <c16:uniqueId val="{00000001-73EC-4F68-8049-6B36AB5C1ED9}"/>
            </c:ext>
          </c:extLst>
        </c:ser>
        <c:ser>
          <c:idx val="2"/>
          <c:order val="2"/>
          <c:tx>
            <c:strRef>
              <c:f>'OOH Revenue by Quarter'!$A$10</c:f>
              <c:strCache>
                <c:ptCount val="1"/>
                <c:pt idx="0">
                  <c:v>Q3</c:v>
                </c:pt>
              </c:strCache>
            </c:strRef>
          </c:tx>
          <c:spPr>
            <a:solidFill>
              <a:schemeClr val="accent3"/>
            </a:solidFill>
            <a:ln>
              <a:noFill/>
            </a:ln>
            <a:effectLst/>
          </c:spPr>
          <c:invertIfNegative val="0"/>
          <c:cat>
            <c:numRef>
              <c:f>'OOH Revenue by Quarter'!$B$7:$O$7</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OOH Revenue by Quarter'!$B$10:$O$10</c:f>
              <c:numCache>
                <c:formatCode>0</c:formatCode>
                <c:ptCount val="14"/>
                <c:pt idx="0">
                  <c:v>212</c:v>
                </c:pt>
                <c:pt idx="1">
                  <c:v>214</c:v>
                </c:pt>
                <c:pt idx="2">
                  <c:v>269</c:v>
                </c:pt>
                <c:pt idx="3">
                  <c:v>256</c:v>
                </c:pt>
                <c:pt idx="4">
                  <c:v>258</c:v>
                </c:pt>
                <c:pt idx="5">
                  <c:v>271</c:v>
                </c:pt>
                <c:pt idx="6">
                  <c:v>281.41815714285713</c:v>
                </c:pt>
                <c:pt idx="7">
                  <c:v>279.86228308393805</c:v>
                </c:pt>
                <c:pt idx="8">
                  <c:v>300.19420073538703</c:v>
                </c:pt>
                <c:pt idx="9">
                  <c:v>329.527197957422</c:v>
                </c:pt>
                <c:pt idx="10">
                  <c:v>166.331851431188</c:v>
                </c:pt>
                <c:pt idx="11">
                  <c:v>270.44178497256502</c:v>
                </c:pt>
                <c:pt idx="12">
                  <c:v>306.05785900000001</c:v>
                </c:pt>
                <c:pt idx="13" formatCode="&quot;£&quot;#,##0">
                  <c:v>345.52929395764801</c:v>
                </c:pt>
              </c:numCache>
            </c:numRef>
          </c:val>
          <c:extLst>
            <c:ext xmlns:c16="http://schemas.microsoft.com/office/drawing/2014/chart" uri="{C3380CC4-5D6E-409C-BE32-E72D297353CC}">
              <c16:uniqueId val="{00000002-73EC-4F68-8049-6B36AB5C1ED9}"/>
            </c:ext>
          </c:extLst>
        </c:ser>
        <c:ser>
          <c:idx val="3"/>
          <c:order val="3"/>
          <c:tx>
            <c:strRef>
              <c:f>'OOH Revenue by Quarter'!$A$11</c:f>
              <c:strCache>
                <c:ptCount val="1"/>
                <c:pt idx="0">
                  <c:v>Q4</c:v>
                </c:pt>
              </c:strCache>
            </c:strRef>
          </c:tx>
          <c:spPr>
            <a:solidFill>
              <a:schemeClr val="accent4"/>
            </a:solidFill>
            <a:ln>
              <a:noFill/>
            </a:ln>
            <a:effectLst/>
          </c:spPr>
          <c:invertIfNegative val="0"/>
          <c:cat>
            <c:numRef>
              <c:f>'OOH Revenue by Quarter'!$B$7:$O$7</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OOH Revenue by Quarter'!$B$11:$O$11</c:f>
              <c:numCache>
                <c:formatCode>0</c:formatCode>
                <c:ptCount val="14"/>
                <c:pt idx="0">
                  <c:v>252</c:v>
                </c:pt>
                <c:pt idx="1">
                  <c:v>256</c:v>
                </c:pt>
                <c:pt idx="2">
                  <c:v>259</c:v>
                </c:pt>
                <c:pt idx="3">
                  <c:v>277</c:v>
                </c:pt>
                <c:pt idx="4">
                  <c:v>294</c:v>
                </c:pt>
                <c:pt idx="5">
                  <c:v>310</c:v>
                </c:pt>
                <c:pt idx="6">
                  <c:v>317.85946295918399</c:v>
                </c:pt>
                <c:pt idx="7">
                  <c:v>331.51618675939187</c:v>
                </c:pt>
                <c:pt idx="8">
                  <c:v>358.23323111793115</c:v>
                </c:pt>
                <c:pt idx="9">
                  <c:v>375.70653602483799</c:v>
                </c:pt>
                <c:pt idx="10">
                  <c:v>203.83052222834601</c:v>
                </c:pt>
                <c:pt idx="11">
                  <c:v>335.61425700000001</c:v>
                </c:pt>
                <c:pt idx="12">
                  <c:v>346</c:v>
                </c:pt>
                <c:pt idx="13">
                  <c:v>396.01407499999999</c:v>
                </c:pt>
              </c:numCache>
            </c:numRef>
          </c:val>
          <c:extLst>
            <c:ext xmlns:c16="http://schemas.microsoft.com/office/drawing/2014/chart" uri="{C3380CC4-5D6E-409C-BE32-E72D297353CC}">
              <c16:uniqueId val="{00000003-73EC-4F68-8049-6B36AB5C1ED9}"/>
            </c:ext>
          </c:extLst>
        </c:ser>
        <c:dLbls>
          <c:showLegendKey val="0"/>
          <c:showVal val="0"/>
          <c:showCatName val="0"/>
          <c:showSerName val="0"/>
          <c:showPercent val="0"/>
          <c:showBubbleSize val="0"/>
        </c:dLbls>
        <c:gapWidth val="219"/>
        <c:overlap val="-27"/>
        <c:axId val="504171336"/>
        <c:axId val="504171728"/>
      </c:barChart>
      <c:catAx>
        <c:axId val="504171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4171728"/>
        <c:crosses val="autoZero"/>
        <c:auto val="1"/>
        <c:lblAlgn val="ctr"/>
        <c:lblOffset val="100"/>
        <c:noMultiLvlLbl val="0"/>
      </c:catAx>
      <c:valAx>
        <c:axId val="504171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4171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000"/>
              <a:t>£m</a:t>
            </a:r>
          </a:p>
        </c:rich>
      </c:tx>
      <c:layout>
        <c:manualLayout>
          <c:xMode val="edge"/>
          <c:yMode val="edge"/>
          <c:x val="1.5194444444444399E-2"/>
          <c:y val="3.240740740740739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OOH Revenue by Quarter'!$A$32</c:f>
              <c:strCache>
                <c:ptCount val="1"/>
                <c:pt idx="0">
                  <c:v>Transpo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OH Revenue by Quarter'!$B$7:$O$7</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OOH Revenue by Quarter'!$B$32:$O$32</c:f>
              <c:numCache>
                <c:formatCode>General</c:formatCode>
                <c:ptCount val="14"/>
                <c:pt idx="0">
                  <c:v>329</c:v>
                </c:pt>
                <c:pt idx="1">
                  <c:v>347</c:v>
                </c:pt>
                <c:pt idx="2">
                  <c:v>389</c:v>
                </c:pt>
                <c:pt idx="3">
                  <c:v>380</c:v>
                </c:pt>
                <c:pt idx="4">
                  <c:v>409</c:v>
                </c:pt>
                <c:pt idx="5">
                  <c:v>431</c:v>
                </c:pt>
                <c:pt idx="6">
                  <c:v>456</c:v>
                </c:pt>
                <c:pt idx="7">
                  <c:v>444</c:v>
                </c:pt>
                <c:pt idx="8">
                  <c:v>478</c:v>
                </c:pt>
                <c:pt idx="9">
                  <c:v>512</c:v>
                </c:pt>
                <c:pt idx="10">
                  <c:v>187</c:v>
                </c:pt>
                <c:pt idx="11">
                  <c:v>210</c:v>
                </c:pt>
                <c:pt idx="12">
                  <c:v>369</c:v>
                </c:pt>
                <c:pt idx="13">
                  <c:v>417</c:v>
                </c:pt>
              </c:numCache>
            </c:numRef>
          </c:val>
          <c:extLst>
            <c:ext xmlns:c16="http://schemas.microsoft.com/office/drawing/2014/chart" uri="{C3380CC4-5D6E-409C-BE32-E72D297353CC}">
              <c16:uniqueId val="{00000000-73EC-4F68-8049-6B36AB5C1ED9}"/>
            </c:ext>
          </c:extLst>
        </c:ser>
        <c:ser>
          <c:idx val="1"/>
          <c:order val="1"/>
          <c:tx>
            <c:strRef>
              <c:f>'OOH Revenue by Quarter'!$A$33</c:f>
              <c:strCache>
                <c:ptCount val="1"/>
                <c:pt idx="0">
                  <c:v>Roadsid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OH Revenue by Quarter'!$B$7:$O$7</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OOH Revenue by Quarter'!$B$33:$O$33</c:f>
              <c:numCache>
                <c:formatCode>General</c:formatCode>
                <c:ptCount val="14"/>
                <c:pt idx="0">
                  <c:v>450</c:v>
                </c:pt>
                <c:pt idx="1">
                  <c:v>450</c:v>
                </c:pt>
                <c:pt idx="2">
                  <c:v>465</c:v>
                </c:pt>
                <c:pt idx="3">
                  <c:v>484</c:v>
                </c:pt>
                <c:pt idx="4">
                  <c:v>488</c:v>
                </c:pt>
                <c:pt idx="5">
                  <c:v>494</c:v>
                </c:pt>
                <c:pt idx="6">
                  <c:v>516</c:v>
                </c:pt>
                <c:pt idx="7">
                  <c:v>532</c:v>
                </c:pt>
                <c:pt idx="8">
                  <c:v>563</c:v>
                </c:pt>
                <c:pt idx="9">
                  <c:v>605</c:v>
                </c:pt>
                <c:pt idx="10">
                  <c:v>397</c:v>
                </c:pt>
                <c:pt idx="11">
                  <c:v>540</c:v>
                </c:pt>
                <c:pt idx="12">
                  <c:v>624</c:v>
                </c:pt>
                <c:pt idx="13">
                  <c:v>686</c:v>
                </c:pt>
              </c:numCache>
            </c:numRef>
          </c:val>
          <c:extLst>
            <c:ext xmlns:c16="http://schemas.microsoft.com/office/drawing/2014/chart" uri="{C3380CC4-5D6E-409C-BE32-E72D297353CC}">
              <c16:uniqueId val="{00000001-73EC-4F68-8049-6B36AB5C1ED9}"/>
            </c:ext>
          </c:extLst>
        </c:ser>
        <c:ser>
          <c:idx val="2"/>
          <c:order val="2"/>
          <c:tx>
            <c:strRef>
              <c:f>'OOH Revenue by Quarter'!$A$34</c:f>
              <c:strCache>
                <c:ptCount val="1"/>
                <c:pt idx="0">
                  <c:v>Pos/Retail/Leisur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OH Revenue by Quarter'!$B$7:$O$7</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OOH Revenue by Quarter'!$B$34:$O$34</c:f>
              <c:numCache>
                <c:formatCode>General</c:formatCode>
                <c:ptCount val="14"/>
                <c:pt idx="0">
                  <c:v>100</c:v>
                </c:pt>
                <c:pt idx="1">
                  <c:v>110</c:v>
                </c:pt>
                <c:pt idx="2">
                  <c:v>117</c:v>
                </c:pt>
                <c:pt idx="3">
                  <c:v>126</c:v>
                </c:pt>
                <c:pt idx="4">
                  <c:v>122</c:v>
                </c:pt>
                <c:pt idx="5">
                  <c:v>134</c:v>
                </c:pt>
                <c:pt idx="6">
                  <c:v>155</c:v>
                </c:pt>
                <c:pt idx="7">
                  <c:v>168</c:v>
                </c:pt>
                <c:pt idx="8">
                  <c:v>168</c:v>
                </c:pt>
                <c:pt idx="9">
                  <c:v>183</c:v>
                </c:pt>
                <c:pt idx="10">
                  <c:v>115</c:v>
                </c:pt>
                <c:pt idx="11">
                  <c:v>151</c:v>
                </c:pt>
                <c:pt idx="12">
                  <c:v>187</c:v>
                </c:pt>
                <c:pt idx="13">
                  <c:v>192</c:v>
                </c:pt>
              </c:numCache>
            </c:numRef>
          </c:val>
          <c:extLst>
            <c:ext xmlns:c16="http://schemas.microsoft.com/office/drawing/2014/chart" uri="{C3380CC4-5D6E-409C-BE32-E72D297353CC}">
              <c16:uniqueId val="{00000002-73EC-4F68-8049-6B36AB5C1ED9}"/>
            </c:ext>
          </c:extLst>
        </c:ser>
        <c:dLbls>
          <c:showLegendKey val="0"/>
          <c:showVal val="0"/>
          <c:showCatName val="0"/>
          <c:showSerName val="0"/>
          <c:showPercent val="0"/>
          <c:showBubbleSize val="0"/>
        </c:dLbls>
        <c:gapWidth val="219"/>
        <c:overlap val="-27"/>
        <c:axId val="504171336"/>
        <c:axId val="504171728"/>
      </c:barChart>
      <c:catAx>
        <c:axId val="504171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4171728"/>
        <c:crosses val="autoZero"/>
        <c:auto val="1"/>
        <c:lblAlgn val="ctr"/>
        <c:lblOffset val="100"/>
        <c:noMultiLvlLbl val="0"/>
      </c:catAx>
      <c:valAx>
        <c:axId val="5041717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4171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2.3888888888889299E-3"/>
          <c:y val="2.777777777777780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3498817132163412E-2"/>
          <c:y val="8.5331934813636781E-2"/>
          <c:w val="0.95416934430281419"/>
          <c:h val="0.833746829571542"/>
        </c:manualLayout>
      </c:layout>
      <c:barChart>
        <c:barDir val="col"/>
        <c:grouping val="clustered"/>
        <c:varyColors val="0"/>
        <c:ser>
          <c:idx val="0"/>
          <c:order val="0"/>
          <c:tx>
            <c:strRef>
              <c:f>'Total DOOH Revenue'!$A$8</c:f>
              <c:strCache>
                <c:ptCount val="1"/>
                <c:pt idx="0">
                  <c:v>£m</c:v>
                </c:pt>
              </c:strCache>
            </c:strRef>
          </c:tx>
          <c:spPr>
            <a:solidFill>
              <a:srgbClr val="8B2CB1"/>
            </a:solidFill>
            <a:ln>
              <a:noFill/>
            </a:ln>
            <a:effectLst/>
          </c:spPr>
          <c:invertIfNegative val="0"/>
          <c:dPt>
            <c:idx val="9"/>
            <c:invertIfNegative val="0"/>
            <c:bubble3D val="0"/>
            <c:spPr>
              <a:solidFill>
                <a:srgbClr val="8B2CB1"/>
              </a:solidFill>
              <a:ln>
                <a:noFill/>
              </a:ln>
              <a:effectLst/>
            </c:spPr>
            <c:extLst>
              <c:ext xmlns:c16="http://schemas.microsoft.com/office/drawing/2014/chart" uri="{C3380CC4-5D6E-409C-BE32-E72D297353CC}">
                <c16:uniqueId val="{00000001-CA43-4A6C-91B7-79BA3B0E7061}"/>
              </c:ext>
            </c:extLst>
          </c:dPt>
          <c:dPt>
            <c:idx val="10"/>
            <c:invertIfNegative val="0"/>
            <c:bubble3D val="0"/>
            <c:spPr>
              <a:solidFill>
                <a:srgbClr val="8B2CB1"/>
              </a:solidFill>
              <a:ln>
                <a:noFill/>
              </a:ln>
              <a:effectLst/>
            </c:spPr>
            <c:extLst>
              <c:ext xmlns:c16="http://schemas.microsoft.com/office/drawing/2014/chart" uri="{C3380CC4-5D6E-409C-BE32-E72D297353CC}">
                <c16:uniqueId val="{00000003-308A-49B1-ABFD-31891676B53F}"/>
              </c:ext>
            </c:extLst>
          </c:dPt>
          <c:dPt>
            <c:idx val="11"/>
            <c:invertIfNegative val="0"/>
            <c:bubble3D val="0"/>
            <c:spPr>
              <a:solidFill>
                <a:srgbClr val="8B2CB1"/>
              </a:solidFill>
              <a:ln>
                <a:noFill/>
              </a:ln>
              <a:effectLst/>
            </c:spPr>
            <c:extLst>
              <c:ext xmlns:c16="http://schemas.microsoft.com/office/drawing/2014/chart" uri="{C3380CC4-5D6E-409C-BE32-E72D297353CC}">
                <c16:uniqueId val="{00000005-18BE-4260-8450-1B02858044B9}"/>
              </c:ext>
            </c:extLst>
          </c:dPt>
          <c:dPt>
            <c:idx val="12"/>
            <c:invertIfNegative val="0"/>
            <c:bubble3D val="0"/>
            <c:spPr>
              <a:solidFill>
                <a:srgbClr val="739700"/>
              </a:solidFill>
              <a:ln>
                <a:noFill/>
              </a:ln>
              <a:effectLst/>
            </c:spPr>
            <c:extLst>
              <c:ext xmlns:c16="http://schemas.microsoft.com/office/drawing/2014/chart" uri="{C3380CC4-5D6E-409C-BE32-E72D297353CC}">
                <c16:uniqueId val="{00000006-2DF3-4145-9B58-7CDE55FBEA17}"/>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otal DOOH Revenue'!$B$3:$N$7</c:f>
              <c:strCach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strCache>
            </c:strRef>
          </c:cat>
          <c:val>
            <c:numRef>
              <c:f>'Total DOOH Revenue'!$B$8:$N$8</c:f>
              <c:numCache>
                <c:formatCode>#,##0</c:formatCode>
                <c:ptCount val="13"/>
                <c:pt idx="0" formatCode="0">
                  <c:v>128</c:v>
                </c:pt>
                <c:pt idx="1">
                  <c:v>182</c:v>
                </c:pt>
                <c:pt idx="2">
                  <c:v>214</c:v>
                </c:pt>
                <c:pt idx="3">
                  <c:v>272</c:v>
                </c:pt>
                <c:pt idx="4">
                  <c:v>337</c:v>
                </c:pt>
                <c:pt idx="5">
                  <c:v>427.67293896938776</c:v>
                </c:pt>
                <c:pt idx="6">
                  <c:v>525.63269157055333</c:v>
                </c:pt>
                <c:pt idx="7">
                  <c:v>602.95119210849725</c:v>
                </c:pt>
                <c:pt idx="8">
                  <c:v>694.04278361781405</c:v>
                </c:pt>
                <c:pt idx="9">
                  <c:v>414.91699650312512</c:v>
                </c:pt>
                <c:pt idx="10" formatCode="0">
                  <c:v>576.82545280589738</c:v>
                </c:pt>
                <c:pt idx="11" formatCode="0">
                  <c:v>748.46140500000001</c:v>
                </c:pt>
                <c:pt idx="12">
                  <c:v>841.30921599999999</c:v>
                </c:pt>
              </c:numCache>
            </c:numRef>
          </c:val>
          <c:extLst>
            <c:ext xmlns:c16="http://schemas.microsoft.com/office/drawing/2014/chart" uri="{C3380CC4-5D6E-409C-BE32-E72D297353CC}">
              <c16:uniqueId val="{00000000-CA43-4A6C-91B7-79BA3B0E7061}"/>
            </c:ext>
          </c:extLst>
        </c:ser>
        <c:dLbls>
          <c:showLegendKey val="0"/>
          <c:showVal val="0"/>
          <c:showCatName val="0"/>
          <c:showSerName val="0"/>
          <c:showPercent val="0"/>
          <c:showBubbleSize val="0"/>
        </c:dLbls>
        <c:gapWidth val="219"/>
        <c:overlap val="-27"/>
        <c:axId val="507760112"/>
        <c:axId val="507760504"/>
      </c:barChart>
      <c:catAx>
        <c:axId val="507760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760504"/>
        <c:crosses val="autoZero"/>
        <c:auto val="1"/>
        <c:lblAlgn val="ctr"/>
        <c:lblOffset val="100"/>
        <c:noMultiLvlLbl val="0"/>
      </c:catAx>
      <c:valAx>
        <c:axId val="5077605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7601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otal DOOH Revenue'!$A$12</c:f>
              <c:strCache>
                <c:ptCount val="1"/>
                <c:pt idx="0">
                  <c:v>% of total</c:v>
                </c:pt>
              </c:strCache>
            </c:strRef>
          </c:tx>
          <c:spPr>
            <a:solidFill>
              <a:srgbClr val="E31C79"/>
            </a:solidFill>
            <a:ln>
              <a:noFill/>
            </a:ln>
            <a:effectLst/>
          </c:spPr>
          <c:invertIfNegative val="0"/>
          <c:dPt>
            <c:idx val="9"/>
            <c:invertIfNegative val="0"/>
            <c:bubble3D val="0"/>
            <c:spPr>
              <a:solidFill>
                <a:srgbClr val="E31C79"/>
              </a:solidFill>
              <a:ln>
                <a:noFill/>
              </a:ln>
              <a:effectLst/>
            </c:spPr>
            <c:extLst>
              <c:ext xmlns:c16="http://schemas.microsoft.com/office/drawing/2014/chart" uri="{C3380CC4-5D6E-409C-BE32-E72D297353CC}">
                <c16:uniqueId val="{00000001-0C9E-4F8F-A1C7-3A161A07CCEE}"/>
              </c:ext>
            </c:extLst>
          </c:dPt>
          <c:dPt>
            <c:idx val="10"/>
            <c:invertIfNegative val="0"/>
            <c:bubble3D val="0"/>
            <c:spPr>
              <a:solidFill>
                <a:srgbClr val="E31C79"/>
              </a:solidFill>
              <a:ln>
                <a:noFill/>
              </a:ln>
              <a:effectLst/>
            </c:spPr>
            <c:extLst>
              <c:ext xmlns:c16="http://schemas.microsoft.com/office/drawing/2014/chart" uri="{C3380CC4-5D6E-409C-BE32-E72D297353CC}">
                <c16:uniqueId val="{00000003-D477-43EA-96BA-1830CE6969B2}"/>
              </c:ext>
            </c:extLst>
          </c:dPt>
          <c:dPt>
            <c:idx val="11"/>
            <c:invertIfNegative val="0"/>
            <c:bubble3D val="0"/>
            <c:spPr>
              <a:solidFill>
                <a:srgbClr val="E31C79"/>
              </a:solidFill>
              <a:ln>
                <a:noFill/>
              </a:ln>
              <a:effectLst/>
            </c:spPr>
            <c:extLst>
              <c:ext xmlns:c16="http://schemas.microsoft.com/office/drawing/2014/chart" uri="{C3380CC4-5D6E-409C-BE32-E72D297353CC}">
                <c16:uniqueId val="{00000005-801B-4460-A6E9-79BADC6C8813}"/>
              </c:ext>
            </c:extLst>
          </c:dPt>
          <c:dPt>
            <c:idx val="12"/>
            <c:invertIfNegative val="0"/>
            <c:bubble3D val="0"/>
            <c:spPr>
              <a:solidFill>
                <a:srgbClr val="739700"/>
              </a:solidFill>
              <a:ln>
                <a:noFill/>
              </a:ln>
              <a:effectLst/>
            </c:spPr>
            <c:extLst>
              <c:ext xmlns:c16="http://schemas.microsoft.com/office/drawing/2014/chart" uri="{C3380CC4-5D6E-409C-BE32-E72D297353CC}">
                <c16:uniqueId val="{00000006-EDCE-4558-87FF-6CC7458DF444}"/>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otal DOOH Revenue'!$B$11:$N$11</c:f>
              <c:numCache>
                <c:formatCode>General</c:formatCod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formatCode="#,##0">
                  <c:v>2023</c:v>
                </c:pt>
              </c:numCache>
            </c:numRef>
          </c:cat>
          <c:val>
            <c:numRef>
              <c:f>'Total DOOH Revenue'!$B$12:$N$12</c:f>
              <c:numCache>
                <c:formatCode>0%</c:formatCode>
                <c:ptCount val="13"/>
                <c:pt idx="0">
                  <c:v>0.14113774254734693</c:v>
                </c:pt>
                <c:pt idx="1">
                  <c:v>0.18760059050893566</c:v>
                </c:pt>
                <c:pt idx="2">
                  <c:v>0.2162447109221505</c:v>
                </c:pt>
                <c:pt idx="3">
                  <c:v>0.26693028648111788</c:v>
                </c:pt>
                <c:pt idx="4">
                  <c:v>0.31854095975188845</c:v>
                </c:pt>
                <c:pt idx="5">
                  <c:v>0.37930400429995365</c:v>
                </c:pt>
                <c:pt idx="6">
                  <c:v>0.45934853267362336</c:v>
                </c:pt>
                <c:pt idx="7">
                  <c:v>0.49869580040669415</c:v>
                </c:pt>
                <c:pt idx="8">
                  <c:v>0.53354314417052162</c:v>
                </c:pt>
                <c:pt idx="9">
                  <c:v>0.593472691153072</c:v>
                </c:pt>
                <c:pt idx="10" formatCode="0%_);\(0%\)">
                  <c:v>0.63997936101455799</c:v>
                </c:pt>
                <c:pt idx="11" formatCode="0%_);\(0%\)">
                  <c:v>0.63</c:v>
                </c:pt>
                <c:pt idx="12">
                  <c:v>0.65</c:v>
                </c:pt>
              </c:numCache>
            </c:numRef>
          </c:val>
          <c:extLst>
            <c:ext xmlns:c16="http://schemas.microsoft.com/office/drawing/2014/chart" uri="{C3380CC4-5D6E-409C-BE32-E72D297353CC}">
              <c16:uniqueId val="{00000000-0C9E-4F8F-A1C7-3A161A07CCEE}"/>
            </c:ext>
          </c:extLst>
        </c:ser>
        <c:dLbls>
          <c:showLegendKey val="0"/>
          <c:showVal val="0"/>
          <c:showCatName val="0"/>
          <c:showSerName val="0"/>
          <c:showPercent val="0"/>
          <c:showBubbleSize val="0"/>
        </c:dLbls>
        <c:gapWidth val="219"/>
        <c:overlap val="-27"/>
        <c:axId val="1077214096"/>
        <c:axId val="927771008"/>
      </c:barChart>
      <c:catAx>
        <c:axId val="1077214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7771008"/>
        <c:crosses val="autoZero"/>
        <c:auto val="1"/>
        <c:lblAlgn val="ctr"/>
        <c:lblOffset val="100"/>
        <c:noMultiLvlLbl val="0"/>
      </c:catAx>
      <c:valAx>
        <c:axId val="9277710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772140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m</a:t>
            </a:r>
          </a:p>
        </c:rich>
      </c:tx>
      <c:layout>
        <c:manualLayout>
          <c:xMode val="edge"/>
          <c:yMode val="edge"/>
          <c:x val="2.3888888888889299E-3"/>
          <c:y val="3.703703703703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7679438555575985E-2"/>
          <c:y val="0.17458700485104736"/>
          <c:w val="0.95452095540086213"/>
          <c:h val="0.71656841868467014"/>
        </c:manualLayout>
      </c:layout>
      <c:barChart>
        <c:barDir val="col"/>
        <c:grouping val="clustered"/>
        <c:varyColors val="0"/>
        <c:ser>
          <c:idx val="0"/>
          <c:order val="0"/>
          <c:tx>
            <c:strRef>
              <c:f>'DOOH Revenue by Quarter'!$A$5</c:f>
              <c:strCache>
                <c:ptCount val="1"/>
                <c:pt idx="0">
                  <c:v>Q1</c:v>
                </c:pt>
              </c:strCache>
            </c:strRef>
          </c:tx>
          <c:spPr>
            <a:solidFill>
              <a:schemeClr val="accent1"/>
            </a:solidFill>
            <a:ln>
              <a:noFill/>
            </a:ln>
            <a:effectLst/>
          </c:spPr>
          <c:invertIfNegative val="0"/>
          <c:dLbls>
            <c:dLbl>
              <c:idx val="11"/>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82C7-43A6-A515-215DC2B46E6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OOH Revenue by Quarter'!$B$3:$N$4</c:f>
              <c:strCach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strCache>
            </c:strRef>
          </c:cat>
          <c:val>
            <c:numRef>
              <c:f>'DOOH Revenue by Quarter'!$B$5:$N$5</c:f>
              <c:numCache>
                <c:formatCode>0</c:formatCode>
                <c:ptCount val="13"/>
                <c:pt idx="0">
                  <c:v>25</c:v>
                </c:pt>
                <c:pt idx="1">
                  <c:v>35.520007</c:v>
                </c:pt>
                <c:pt idx="2">
                  <c:v>43</c:v>
                </c:pt>
                <c:pt idx="3">
                  <c:v>47</c:v>
                </c:pt>
                <c:pt idx="4">
                  <c:v>67</c:v>
                </c:pt>
                <c:pt idx="5">
                  <c:v>84.266266326530626</c:v>
                </c:pt>
                <c:pt idx="6">
                  <c:v>107.16029583920358</c:v>
                </c:pt>
                <c:pt idx="7">
                  <c:v>126.365229</c:v>
                </c:pt>
                <c:pt idx="8">
                  <c:v>140.19860789748401</c:v>
                </c:pt>
                <c:pt idx="9">
                  <c:v>147.44680199999999</c:v>
                </c:pt>
                <c:pt idx="10">
                  <c:v>59.324602996125002</c:v>
                </c:pt>
                <c:pt idx="11">
                  <c:v>144.05948699999999</c:v>
                </c:pt>
                <c:pt idx="12">
                  <c:v>153.78528600000001</c:v>
                </c:pt>
              </c:numCache>
            </c:numRef>
          </c:val>
          <c:extLst>
            <c:ext xmlns:c16="http://schemas.microsoft.com/office/drawing/2014/chart" uri="{C3380CC4-5D6E-409C-BE32-E72D297353CC}">
              <c16:uniqueId val="{00000000-C79A-427F-BED0-89E3C4539DB7}"/>
            </c:ext>
          </c:extLst>
        </c:ser>
        <c:ser>
          <c:idx val="1"/>
          <c:order val="1"/>
          <c:tx>
            <c:strRef>
              <c:f>'DOOH Revenue by Quarter'!$A$6</c:f>
              <c:strCache>
                <c:ptCount val="1"/>
                <c:pt idx="0">
                  <c:v>Q2</c:v>
                </c:pt>
              </c:strCache>
            </c:strRef>
          </c:tx>
          <c:spPr>
            <a:solidFill>
              <a:schemeClr val="accent2"/>
            </a:solidFill>
            <a:ln>
              <a:noFill/>
            </a:ln>
            <a:effectLst/>
          </c:spPr>
          <c:invertIfNegative val="0"/>
          <c:dLbls>
            <c:dLbl>
              <c:idx val="11"/>
              <c:layout>
                <c:manualLayout>
                  <c:x val="-1.1124753777226192E-3"/>
                  <c:y val="-4.9599177983477134E-17"/>
                </c:manualLayout>
              </c:layout>
              <c:tx>
                <c:rich>
                  <a:bodyPr/>
                  <a:lstStyle/>
                  <a:p>
                    <a:fld id="{83F461F0-DAC5-4E1B-851C-CD3B89AB5D8F}" type="VALUE">
                      <a:rPr lang="en-US" smtClean="0"/>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9E5F-47A8-AD33-A4C1F393FF2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OOH Revenue by Quarter'!$B$3:$N$4</c:f>
              <c:strCach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strCache>
            </c:strRef>
          </c:cat>
          <c:val>
            <c:numRef>
              <c:f>'DOOH Revenue by Quarter'!$B$6:$N$6</c:f>
              <c:numCache>
                <c:formatCode>0</c:formatCode>
                <c:ptCount val="13"/>
                <c:pt idx="0">
                  <c:v>30</c:v>
                </c:pt>
                <c:pt idx="1">
                  <c:v>38.125905000000003</c:v>
                </c:pt>
                <c:pt idx="2">
                  <c:v>52</c:v>
                </c:pt>
                <c:pt idx="3">
                  <c:v>68</c:v>
                </c:pt>
                <c:pt idx="4">
                  <c:v>75</c:v>
                </c:pt>
                <c:pt idx="5">
                  <c:v>98.193698979591829</c:v>
                </c:pt>
                <c:pt idx="6">
                  <c:v>127.65918602097727</c:v>
                </c:pt>
                <c:pt idx="7">
                  <c:v>135.76571609820198</c:v>
                </c:pt>
                <c:pt idx="8">
                  <c:v>159.05213900000001</c:v>
                </c:pt>
                <c:pt idx="9">
                  <c:v>35.818875744179103</c:v>
                </c:pt>
                <c:pt idx="10">
                  <c:v>124.42590846196001</c:v>
                </c:pt>
                <c:pt idx="11">
                  <c:v>184</c:v>
                </c:pt>
                <c:pt idx="12">
                  <c:v>194.7</c:v>
                </c:pt>
              </c:numCache>
            </c:numRef>
          </c:val>
          <c:extLst>
            <c:ext xmlns:c16="http://schemas.microsoft.com/office/drawing/2014/chart" uri="{C3380CC4-5D6E-409C-BE32-E72D297353CC}">
              <c16:uniqueId val="{00000001-C79A-427F-BED0-89E3C4539DB7}"/>
            </c:ext>
          </c:extLst>
        </c:ser>
        <c:ser>
          <c:idx val="2"/>
          <c:order val="2"/>
          <c:tx>
            <c:strRef>
              <c:f>'DOOH Revenue by Quarter'!$A$7</c:f>
              <c:strCache>
                <c:ptCount val="1"/>
                <c:pt idx="0">
                  <c:v>Q3</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OOH Revenue by Quarter'!$B$3:$N$4</c:f>
              <c:strCach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strCache>
            </c:strRef>
          </c:cat>
          <c:val>
            <c:numRef>
              <c:f>'DOOH Revenue by Quarter'!$B$7:$N$7</c:f>
              <c:numCache>
                <c:formatCode>0</c:formatCode>
                <c:ptCount val="13"/>
                <c:pt idx="0">
                  <c:v>31</c:v>
                </c:pt>
                <c:pt idx="1">
                  <c:v>52</c:v>
                </c:pt>
                <c:pt idx="2">
                  <c:v>54</c:v>
                </c:pt>
                <c:pt idx="3">
                  <c:v>73</c:v>
                </c:pt>
                <c:pt idx="4">
                  <c:v>83</c:v>
                </c:pt>
                <c:pt idx="5">
                  <c:v>105.43053163265306</c:v>
                </c:pt>
                <c:pt idx="6">
                  <c:v>126.69584875834575</c:v>
                </c:pt>
                <c:pt idx="7">
                  <c:v>150.717834292155</c:v>
                </c:pt>
                <c:pt idx="8">
                  <c:v>176.50307777670699</c:v>
                </c:pt>
                <c:pt idx="9">
                  <c:v>102.28009881454099</c:v>
                </c:pt>
                <c:pt idx="10">
                  <c:v>172.52250520545499</c:v>
                </c:pt>
                <c:pt idx="11">
                  <c:v>195.530338</c:v>
                </c:pt>
                <c:pt idx="12" formatCode="_(* #,##0_);_(* \(#,##0\);_(* &quot;-&quot;_);@_)">
                  <c:v>226.02914438075501</c:v>
                </c:pt>
              </c:numCache>
            </c:numRef>
          </c:val>
          <c:extLst>
            <c:ext xmlns:c16="http://schemas.microsoft.com/office/drawing/2014/chart" uri="{C3380CC4-5D6E-409C-BE32-E72D297353CC}">
              <c16:uniqueId val="{00000002-C79A-427F-BED0-89E3C4539DB7}"/>
            </c:ext>
          </c:extLst>
        </c:ser>
        <c:ser>
          <c:idx val="3"/>
          <c:order val="3"/>
          <c:tx>
            <c:strRef>
              <c:f>'DOOH Revenue by Quarter'!$A$8</c:f>
              <c:strCache>
                <c:ptCount val="1"/>
                <c:pt idx="0">
                  <c:v>Q4</c:v>
                </c:pt>
              </c:strCache>
            </c:strRef>
          </c:tx>
          <c:spPr>
            <a:solidFill>
              <a:schemeClr val="accent4"/>
            </a:solidFill>
            <a:ln>
              <a:noFill/>
            </a:ln>
            <a:effectLst/>
          </c:spPr>
          <c:invertIfNegative val="0"/>
          <c:dLbls>
            <c:dLbl>
              <c:idx val="10"/>
              <c:tx>
                <c:rich>
                  <a:bodyPr/>
                  <a:lstStyle/>
                  <a:p>
                    <a:r>
                      <a:rPr lang="en-US"/>
                      <a:t>221</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21F-4E47-B11F-28EEDC4B4C1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OOH Revenue by Quarter'!$B$3:$N$4</c:f>
              <c:strCach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strCache>
            </c:strRef>
          </c:cat>
          <c:val>
            <c:numRef>
              <c:f>'DOOH Revenue by Quarter'!$B$8:$N$8</c:f>
              <c:numCache>
                <c:formatCode>0</c:formatCode>
                <c:ptCount val="13"/>
                <c:pt idx="0">
                  <c:v>42</c:v>
                </c:pt>
                <c:pt idx="1">
                  <c:v>56</c:v>
                </c:pt>
                <c:pt idx="2">
                  <c:v>65</c:v>
                </c:pt>
                <c:pt idx="3">
                  <c:v>83</c:v>
                </c:pt>
                <c:pt idx="4">
                  <c:v>112</c:v>
                </c:pt>
                <c:pt idx="5">
                  <c:v>139.78244203061226</c:v>
                </c:pt>
                <c:pt idx="6">
                  <c:v>164.11736095202679</c:v>
                </c:pt>
                <c:pt idx="7">
                  <c:v>190.10241267347834</c:v>
                </c:pt>
                <c:pt idx="8">
                  <c:v>218.28895800000001</c:v>
                </c:pt>
                <c:pt idx="9">
                  <c:v>129.371219944405</c:v>
                </c:pt>
                <c:pt idx="10">
                  <c:v>220.552436</c:v>
                </c:pt>
                <c:pt idx="11">
                  <c:v>224.472916</c:v>
                </c:pt>
                <c:pt idx="12" formatCode="General">
                  <c:v>267</c:v>
                </c:pt>
              </c:numCache>
            </c:numRef>
          </c:val>
          <c:extLst>
            <c:ext xmlns:c16="http://schemas.microsoft.com/office/drawing/2014/chart" uri="{C3380CC4-5D6E-409C-BE32-E72D297353CC}">
              <c16:uniqueId val="{00000003-C79A-427F-BED0-89E3C4539DB7}"/>
            </c:ext>
          </c:extLst>
        </c:ser>
        <c:dLbls>
          <c:showLegendKey val="0"/>
          <c:showVal val="0"/>
          <c:showCatName val="0"/>
          <c:showSerName val="0"/>
          <c:showPercent val="0"/>
          <c:showBubbleSize val="0"/>
        </c:dLbls>
        <c:gapWidth val="219"/>
        <c:overlap val="-27"/>
        <c:axId val="507761288"/>
        <c:axId val="507761680"/>
      </c:barChart>
      <c:catAx>
        <c:axId val="507761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761680"/>
        <c:crosses val="autoZero"/>
        <c:auto val="1"/>
        <c:lblAlgn val="ctr"/>
        <c:lblOffset val="100"/>
        <c:noMultiLvlLbl val="0"/>
      </c:catAx>
      <c:valAx>
        <c:axId val="5077616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7761288"/>
        <c:crosses val="autoZero"/>
        <c:crossBetween val="between"/>
      </c:valAx>
      <c:spPr>
        <a:noFill/>
        <a:ln>
          <a:noFill/>
        </a:ln>
        <a:effectLst/>
      </c:spPr>
    </c:plotArea>
    <c:legend>
      <c:legendPos val="b"/>
      <c:layout>
        <c:manualLayout>
          <c:xMode val="edge"/>
          <c:yMode val="edge"/>
          <c:x val="0.44307196322909731"/>
          <c:y val="0.9548008156371931"/>
          <c:w val="0.11608102429725062"/>
          <c:h val="4.519918436280687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OOH Revenue Figures'!$A$5</c:f>
              <c:strCache>
                <c:ptCount val="1"/>
                <c:pt idx="0">
                  <c:v>Roadside</c:v>
                </c:pt>
              </c:strCache>
            </c:strRef>
          </c:tx>
          <c:spPr>
            <a:solidFill>
              <a:schemeClr val="accent1"/>
            </a:solidFill>
            <a:ln>
              <a:noFill/>
            </a:ln>
            <a:effectLst/>
          </c:spPr>
          <c:invertIfNegative val="0"/>
          <c:cat>
            <c:multiLvlStrRef>
              <c:f>'DOOH Revenue Figures'!$B$3:$BA$4</c:f>
              <c:multiLvlStrCache>
                <c:ptCount val="52"/>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pt idx="18">
                    <c:v>Q3</c:v>
                  </c:pt>
                  <c:pt idx="19">
                    <c:v>Q4</c:v>
                  </c:pt>
                  <c:pt idx="20">
                    <c:v>Q1</c:v>
                  </c:pt>
                  <c:pt idx="21">
                    <c:v>Q2</c:v>
                  </c:pt>
                  <c:pt idx="22">
                    <c:v>Q3</c:v>
                  </c:pt>
                  <c:pt idx="23">
                    <c:v>Q4</c:v>
                  </c:pt>
                  <c:pt idx="24">
                    <c:v>Q1</c:v>
                  </c:pt>
                  <c:pt idx="25">
                    <c:v>Q2</c:v>
                  </c:pt>
                  <c:pt idx="26">
                    <c:v>Q3</c:v>
                  </c:pt>
                  <c:pt idx="27">
                    <c:v>Q4</c:v>
                  </c:pt>
                  <c:pt idx="28">
                    <c:v>Q1</c:v>
                  </c:pt>
                  <c:pt idx="29">
                    <c:v>Q2</c:v>
                  </c:pt>
                  <c:pt idx="30">
                    <c:v>Q3</c:v>
                  </c:pt>
                  <c:pt idx="31">
                    <c:v>Q4</c:v>
                  </c:pt>
                  <c:pt idx="32">
                    <c:v>Q1</c:v>
                  </c:pt>
                  <c:pt idx="33">
                    <c:v>Q2</c:v>
                  </c:pt>
                  <c:pt idx="34">
                    <c:v>Q3</c:v>
                  </c:pt>
                  <c:pt idx="35">
                    <c:v>Q4</c:v>
                  </c:pt>
                  <c:pt idx="36">
                    <c:v>Q1</c:v>
                  </c:pt>
                  <c:pt idx="37">
                    <c:v>Q2</c:v>
                  </c:pt>
                  <c:pt idx="38">
                    <c:v>Q3</c:v>
                  </c:pt>
                  <c:pt idx="39">
                    <c:v>Q4</c:v>
                  </c:pt>
                  <c:pt idx="40">
                    <c:v>Q1 </c:v>
                  </c:pt>
                  <c:pt idx="41">
                    <c:v>Q2</c:v>
                  </c:pt>
                  <c:pt idx="42">
                    <c:v>Q3</c:v>
                  </c:pt>
                  <c:pt idx="43">
                    <c:v>Q4</c:v>
                  </c:pt>
                  <c:pt idx="44">
                    <c:v>Q1 </c:v>
                  </c:pt>
                  <c:pt idx="45">
                    <c:v>Q2</c:v>
                  </c:pt>
                  <c:pt idx="46">
                    <c:v>Q3</c:v>
                  </c:pt>
                  <c:pt idx="47">
                    <c:v>Q4</c:v>
                  </c:pt>
                  <c:pt idx="48">
                    <c:v>Q1 </c:v>
                  </c:pt>
                  <c:pt idx="49">
                    <c:v>Q2</c:v>
                  </c:pt>
                  <c:pt idx="50">
                    <c:v>Q3</c:v>
                  </c:pt>
                  <c:pt idx="51">
                    <c:v>Q4</c:v>
                  </c:pt>
                </c:lvl>
                <c:lvl>
                  <c:pt idx="0">
                    <c:v>2011</c:v>
                  </c:pt>
                  <c:pt idx="4">
                    <c:v>2012</c:v>
                  </c:pt>
                  <c:pt idx="8">
                    <c:v>2013</c:v>
                  </c:pt>
                  <c:pt idx="12">
                    <c:v>2014</c:v>
                  </c:pt>
                  <c:pt idx="16">
                    <c:v>2015</c:v>
                  </c:pt>
                  <c:pt idx="20">
                    <c:v>2016</c:v>
                  </c:pt>
                  <c:pt idx="24">
                    <c:v>2017</c:v>
                  </c:pt>
                  <c:pt idx="28">
                    <c:v>2018</c:v>
                  </c:pt>
                  <c:pt idx="32">
                    <c:v>2019</c:v>
                  </c:pt>
                  <c:pt idx="36">
                    <c:v>2020</c:v>
                  </c:pt>
                  <c:pt idx="40">
                    <c:v>2021</c:v>
                  </c:pt>
                  <c:pt idx="44">
                    <c:v>2022</c:v>
                  </c:pt>
                  <c:pt idx="48">
                    <c:v>2023</c:v>
                  </c:pt>
                </c:lvl>
              </c:multiLvlStrCache>
            </c:multiLvlStrRef>
          </c:cat>
          <c:val>
            <c:numRef>
              <c:f>'DOOH Revenue Figures'!$B$5:$BA$5</c:f>
              <c:numCache>
                <c:formatCode>"£"#,##0</c:formatCode>
                <c:ptCount val="52"/>
                <c:pt idx="0">
                  <c:v>7247083</c:v>
                </c:pt>
                <c:pt idx="1">
                  <c:v>8480413</c:v>
                </c:pt>
                <c:pt idx="2">
                  <c:v>8722189</c:v>
                </c:pt>
                <c:pt idx="3">
                  <c:v>12323981</c:v>
                </c:pt>
                <c:pt idx="4">
                  <c:v>10890519</c:v>
                </c:pt>
                <c:pt idx="5">
                  <c:v>11796621</c:v>
                </c:pt>
                <c:pt idx="6">
                  <c:v>16527061</c:v>
                </c:pt>
                <c:pt idx="7">
                  <c:v>16730901</c:v>
                </c:pt>
                <c:pt idx="8">
                  <c:v>14794899</c:v>
                </c:pt>
                <c:pt idx="9">
                  <c:v>18888295</c:v>
                </c:pt>
                <c:pt idx="10">
                  <c:v>18760839</c:v>
                </c:pt>
                <c:pt idx="11">
                  <c:v>22200251</c:v>
                </c:pt>
                <c:pt idx="12">
                  <c:v>15349022.860535361</c:v>
                </c:pt>
                <c:pt idx="13">
                  <c:v>25490654</c:v>
                </c:pt>
                <c:pt idx="14">
                  <c:v>25307387</c:v>
                </c:pt>
                <c:pt idx="15">
                  <c:v>24455225</c:v>
                </c:pt>
                <c:pt idx="16">
                  <c:v>23320772</c:v>
                </c:pt>
                <c:pt idx="17">
                  <c:v>23992651</c:v>
                </c:pt>
                <c:pt idx="18">
                  <c:v>32011330</c:v>
                </c:pt>
                <c:pt idx="19">
                  <c:v>43099160</c:v>
                </c:pt>
                <c:pt idx="20">
                  <c:v>31370785.714285716</c:v>
                </c:pt>
                <c:pt idx="21">
                  <c:v>38588489.795918368</c:v>
                </c:pt>
                <c:pt idx="22">
                  <c:v>48427514.265306123</c:v>
                </c:pt>
                <c:pt idx="23">
                  <c:v>58467989.836734697</c:v>
                </c:pt>
                <c:pt idx="24">
                  <c:v>46867800.771528579</c:v>
                </c:pt>
                <c:pt idx="25">
                  <c:v>59066516.677500002</c:v>
                </c:pt>
                <c:pt idx="26">
                  <c:v>57080846.04172951</c:v>
                </c:pt>
                <c:pt idx="27">
                  <c:v>72573405.243732765</c:v>
                </c:pt>
                <c:pt idx="28">
                  <c:v>58692637</c:v>
                </c:pt>
                <c:pt idx="29">
                  <c:v>61339597.782630913</c:v>
                </c:pt>
                <c:pt idx="30">
                  <c:v>71848143.80022572</c:v>
                </c:pt>
                <c:pt idx="31">
                  <c:v>93436662.108199328</c:v>
                </c:pt>
                <c:pt idx="32">
                  <c:v>69189223.301531538</c:v>
                </c:pt>
                <c:pt idx="33">
                  <c:v>78416244.768510252</c:v>
                </c:pt>
                <c:pt idx="34">
                  <c:v>88485149.57045503</c:v>
                </c:pt>
                <c:pt idx="35">
                  <c:v>103096514.16118868</c:v>
                </c:pt>
                <c:pt idx="36">
                  <c:v>72723336</c:v>
                </c:pt>
                <c:pt idx="37">
                  <c:v>20309627.187540993</c:v>
                </c:pt>
                <c:pt idx="38">
                  <c:v>65765293.758019701</c:v>
                </c:pt>
                <c:pt idx="39">
                  <c:v>86855599.267419592</c:v>
                </c:pt>
                <c:pt idx="40">
                  <c:v>38655872.229143307</c:v>
                </c:pt>
                <c:pt idx="41">
                  <c:v>83312552.307094395</c:v>
                </c:pt>
                <c:pt idx="42">
                  <c:v>108385001.87519416</c:v>
                </c:pt>
                <c:pt idx="43">
                  <c:v>130305670.49913393</c:v>
                </c:pt>
                <c:pt idx="44" formatCode="_(* #,##0_);_(* \(#,##0\);_(* &quot;-&quot;_);@_)">
                  <c:v>89686677.522248298</c:v>
                </c:pt>
                <c:pt idx="45" formatCode="_(* #,##0_);_(* \(#,##0\);_(* &quot;-&quot;_);@_)">
                  <c:v>107765163.5332118</c:v>
                </c:pt>
                <c:pt idx="46" formatCode="_(* #,##0_);_(* \(#,##0\);_(* &quot;-&quot;_);@_)">
                  <c:v>113513509.35784306</c:v>
                </c:pt>
                <c:pt idx="47" formatCode="_(* #,##0_);_(* \(#,##0\);_(* &quot;-&quot;_);@_)">
                  <c:v>124820802.99748568</c:v>
                </c:pt>
                <c:pt idx="48" formatCode="_(* #,##0_);_(* \(#,##0\);_(* &quot;-&quot;_);@_)">
                  <c:v>93069162.693932176</c:v>
                </c:pt>
                <c:pt idx="49" formatCode="_(* #,##0_);_(* \(#,##0\);_(* &quot;-&quot;_);@_)">
                  <c:v>116771359.68387035</c:v>
                </c:pt>
                <c:pt idx="50">
                  <c:v>132230782.5923053</c:v>
                </c:pt>
                <c:pt idx="51" formatCode="&quot;£&quot;#,##0_);[Red]\(&quot;£&quot;#,##0\)">
                  <c:v>150681958</c:v>
                </c:pt>
              </c:numCache>
            </c:numRef>
          </c:val>
          <c:extLst>
            <c:ext xmlns:c16="http://schemas.microsoft.com/office/drawing/2014/chart" uri="{C3380CC4-5D6E-409C-BE32-E72D297353CC}">
              <c16:uniqueId val="{00000000-2B47-4879-B69D-2DA5311A1ABA}"/>
            </c:ext>
          </c:extLst>
        </c:ser>
        <c:ser>
          <c:idx val="1"/>
          <c:order val="1"/>
          <c:tx>
            <c:strRef>
              <c:f>'DOOH Revenue Figures'!$A$6</c:f>
              <c:strCache>
                <c:ptCount val="1"/>
                <c:pt idx="0">
                  <c:v>Transport</c:v>
                </c:pt>
              </c:strCache>
            </c:strRef>
          </c:tx>
          <c:spPr>
            <a:solidFill>
              <a:schemeClr val="accent2"/>
            </a:solidFill>
            <a:ln>
              <a:noFill/>
            </a:ln>
            <a:effectLst/>
          </c:spPr>
          <c:invertIfNegative val="0"/>
          <c:cat>
            <c:multiLvlStrRef>
              <c:f>'DOOH Revenue Figures'!$B$3:$BA$4</c:f>
              <c:multiLvlStrCache>
                <c:ptCount val="52"/>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pt idx="18">
                    <c:v>Q3</c:v>
                  </c:pt>
                  <c:pt idx="19">
                    <c:v>Q4</c:v>
                  </c:pt>
                  <c:pt idx="20">
                    <c:v>Q1</c:v>
                  </c:pt>
                  <c:pt idx="21">
                    <c:v>Q2</c:v>
                  </c:pt>
                  <c:pt idx="22">
                    <c:v>Q3</c:v>
                  </c:pt>
                  <c:pt idx="23">
                    <c:v>Q4</c:v>
                  </c:pt>
                  <c:pt idx="24">
                    <c:v>Q1</c:v>
                  </c:pt>
                  <c:pt idx="25">
                    <c:v>Q2</c:v>
                  </c:pt>
                  <c:pt idx="26">
                    <c:v>Q3</c:v>
                  </c:pt>
                  <c:pt idx="27">
                    <c:v>Q4</c:v>
                  </c:pt>
                  <c:pt idx="28">
                    <c:v>Q1</c:v>
                  </c:pt>
                  <c:pt idx="29">
                    <c:v>Q2</c:v>
                  </c:pt>
                  <c:pt idx="30">
                    <c:v>Q3</c:v>
                  </c:pt>
                  <c:pt idx="31">
                    <c:v>Q4</c:v>
                  </c:pt>
                  <c:pt idx="32">
                    <c:v>Q1</c:v>
                  </c:pt>
                  <c:pt idx="33">
                    <c:v>Q2</c:v>
                  </c:pt>
                  <c:pt idx="34">
                    <c:v>Q3</c:v>
                  </c:pt>
                  <c:pt idx="35">
                    <c:v>Q4</c:v>
                  </c:pt>
                  <c:pt idx="36">
                    <c:v>Q1</c:v>
                  </c:pt>
                  <c:pt idx="37">
                    <c:v>Q2</c:v>
                  </c:pt>
                  <c:pt idx="38">
                    <c:v>Q3</c:v>
                  </c:pt>
                  <c:pt idx="39">
                    <c:v>Q4</c:v>
                  </c:pt>
                  <c:pt idx="40">
                    <c:v>Q1 </c:v>
                  </c:pt>
                  <c:pt idx="41">
                    <c:v>Q2</c:v>
                  </c:pt>
                  <c:pt idx="42">
                    <c:v>Q3</c:v>
                  </c:pt>
                  <c:pt idx="43">
                    <c:v>Q4</c:v>
                  </c:pt>
                  <c:pt idx="44">
                    <c:v>Q1 </c:v>
                  </c:pt>
                  <c:pt idx="45">
                    <c:v>Q2</c:v>
                  </c:pt>
                  <c:pt idx="46">
                    <c:v>Q3</c:v>
                  </c:pt>
                  <c:pt idx="47">
                    <c:v>Q4</c:v>
                  </c:pt>
                  <c:pt idx="48">
                    <c:v>Q1 </c:v>
                  </c:pt>
                  <c:pt idx="49">
                    <c:v>Q2</c:v>
                  </c:pt>
                  <c:pt idx="50">
                    <c:v>Q3</c:v>
                  </c:pt>
                  <c:pt idx="51">
                    <c:v>Q4</c:v>
                  </c:pt>
                </c:lvl>
                <c:lvl>
                  <c:pt idx="0">
                    <c:v>2011</c:v>
                  </c:pt>
                  <c:pt idx="4">
                    <c:v>2012</c:v>
                  </c:pt>
                  <c:pt idx="8">
                    <c:v>2013</c:v>
                  </c:pt>
                  <c:pt idx="12">
                    <c:v>2014</c:v>
                  </c:pt>
                  <c:pt idx="16">
                    <c:v>2015</c:v>
                  </c:pt>
                  <c:pt idx="20">
                    <c:v>2016</c:v>
                  </c:pt>
                  <c:pt idx="24">
                    <c:v>2017</c:v>
                  </c:pt>
                  <c:pt idx="28">
                    <c:v>2018</c:v>
                  </c:pt>
                  <c:pt idx="32">
                    <c:v>2019</c:v>
                  </c:pt>
                  <c:pt idx="36">
                    <c:v>2020</c:v>
                  </c:pt>
                  <c:pt idx="40">
                    <c:v>2021</c:v>
                  </c:pt>
                  <c:pt idx="44">
                    <c:v>2022</c:v>
                  </c:pt>
                  <c:pt idx="48">
                    <c:v>2023</c:v>
                  </c:pt>
                </c:lvl>
              </c:multiLvlStrCache>
            </c:multiLvlStrRef>
          </c:cat>
          <c:val>
            <c:numRef>
              <c:f>'DOOH Revenue Figures'!$B$6:$BA$6</c:f>
              <c:numCache>
                <c:formatCode>"£"#,##0</c:formatCode>
                <c:ptCount val="52"/>
                <c:pt idx="0">
                  <c:v>12471610</c:v>
                </c:pt>
                <c:pt idx="1">
                  <c:v>14982380</c:v>
                </c:pt>
                <c:pt idx="2">
                  <c:v>14769202</c:v>
                </c:pt>
                <c:pt idx="3">
                  <c:v>18264366</c:v>
                </c:pt>
                <c:pt idx="4">
                  <c:v>16220256</c:v>
                </c:pt>
                <c:pt idx="5">
                  <c:v>17074752</c:v>
                </c:pt>
                <c:pt idx="6">
                  <c:v>23204597</c:v>
                </c:pt>
                <c:pt idx="7">
                  <c:v>22763147</c:v>
                </c:pt>
                <c:pt idx="8">
                  <c:v>17395433</c:v>
                </c:pt>
                <c:pt idx="9">
                  <c:v>20012077</c:v>
                </c:pt>
                <c:pt idx="10">
                  <c:v>21115210</c:v>
                </c:pt>
                <c:pt idx="11">
                  <c:v>24047855</c:v>
                </c:pt>
                <c:pt idx="12">
                  <c:v>20374487.670000002</c:v>
                </c:pt>
                <c:pt idx="13">
                  <c:v>24367190</c:v>
                </c:pt>
                <c:pt idx="14">
                  <c:v>24348866</c:v>
                </c:pt>
                <c:pt idx="15">
                  <c:v>31633208</c:v>
                </c:pt>
                <c:pt idx="16">
                  <c:v>24090973</c:v>
                </c:pt>
                <c:pt idx="17">
                  <c:v>27134430</c:v>
                </c:pt>
                <c:pt idx="18">
                  <c:v>28643338.300000001</c:v>
                </c:pt>
                <c:pt idx="19">
                  <c:v>35069375.100000001</c:v>
                </c:pt>
                <c:pt idx="20">
                  <c:v>27157993.979591839</c:v>
                </c:pt>
                <c:pt idx="21">
                  <c:v>31144607.448979594</c:v>
                </c:pt>
                <c:pt idx="22">
                  <c:v>30396631.938775513</c:v>
                </c:pt>
                <c:pt idx="23">
                  <c:v>38147362.201020405</c:v>
                </c:pt>
                <c:pt idx="24">
                  <c:v>28518257.681025002</c:v>
                </c:pt>
                <c:pt idx="25">
                  <c:v>33938327.334900253</c:v>
                </c:pt>
                <c:pt idx="26">
                  <c:v>33337726.976764359</c:v>
                </c:pt>
                <c:pt idx="27">
                  <c:v>41565518.177705526</c:v>
                </c:pt>
                <c:pt idx="28">
                  <c:v>35181687.369999997</c:v>
                </c:pt>
                <c:pt idx="29">
                  <c:v>39063656.858323865</c:v>
                </c:pt>
                <c:pt idx="30">
                  <c:v>41318052.306014374</c:v>
                </c:pt>
                <c:pt idx="31">
                  <c:v>48740504.262792692</c:v>
                </c:pt>
                <c:pt idx="32">
                  <c:v>39193368.846391991</c:v>
                </c:pt>
                <c:pt idx="33">
                  <c:v>44799393.199472748</c:v>
                </c:pt>
                <c:pt idx="34">
                  <c:v>47373417.495038345</c:v>
                </c:pt>
                <c:pt idx="35">
                  <c:v>60610924.623342872</c:v>
                </c:pt>
                <c:pt idx="36">
                  <c:v>41597343.5</c:v>
                </c:pt>
                <c:pt idx="37">
                  <c:v>3195426.8146938146</c:v>
                </c:pt>
                <c:pt idx="38">
                  <c:v>10086611.258997062</c:v>
                </c:pt>
                <c:pt idx="39">
                  <c:v>10440611.255969688</c:v>
                </c:pt>
                <c:pt idx="40">
                  <c:v>4521659.029297282</c:v>
                </c:pt>
                <c:pt idx="41">
                  <c:v>11208220.622554427</c:v>
                </c:pt>
                <c:pt idx="42">
                  <c:v>22726347.827632993</c:v>
                </c:pt>
                <c:pt idx="43">
                  <c:v>42444434.100206412</c:v>
                </c:pt>
                <c:pt idx="44" formatCode="_(* #,##0_);_(* \(#,##0\);_(* &quot;-&quot;_);@_)">
                  <c:v>23314665.199727286</c:v>
                </c:pt>
                <c:pt idx="45" formatCode="_(* #,##0_);_(* \(#,##0\);_(* &quot;-&quot;_);@_)">
                  <c:v>37544450.313429087</c:v>
                </c:pt>
                <c:pt idx="46" formatCode="_(* #,##0_);_(* \(#,##0\);_(* &quot;-&quot;_);@_)">
                  <c:v>38433181.954567783</c:v>
                </c:pt>
                <c:pt idx="47" formatCode="_(* #,##0_);_(* \(#,##0\);_(* &quot;-&quot;_);@_)">
                  <c:v>49939790.974661045</c:v>
                </c:pt>
                <c:pt idx="48" formatCode="_(* #,##0_);_(* \(#,##0\);_(* &quot;-&quot;_);@_)">
                  <c:v>29516140.794877376</c:v>
                </c:pt>
                <c:pt idx="49" formatCode="_(* #,##0_);_(* \(#,##0\);_(* &quot;-&quot;_);@_)">
                  <c:v>38855529.452181742</c:v>
                </c:pt>
                <c:pt idx="50">
                  <c:v>48129763.588512912</c:v>
                </c:pt>
                <c:pt idx="51" formatCode="&quot;£&quot;#,##0_);[Red]\(&quot;£&quot;#,##0\)">
                  <c:v>58947876</c:v>
                </c:pt>
              </c:numCache>
            </c:numRef>
          </c:val>
          <c:extLst>
            <c:ext xmlns:c16="http://schemas.microsoft.com/office/drawing/2014/chart" uri="{C3380CC4-5D6E-409C-BE32-E72D297353CC}">
              <c16:uniqueId val="{00000001-2B47-4879-B69D-2DA5311A1ABA}"/>
            </c:ext>
          </c:extLst>
        </c:ser>
        <c:ser>
          <c:idx val="2"/>
          <c:order val="2"/>
          <c:tx>
            <c:strRef>
              <c:f>'DOOH Revenue Figures'!$A$7</c:f>
              <c:strCache>
                <c:ptCount val="1"/>
                <c:pt idx="0">
                  <c:v>Retail and Leisure</c:v>
                </c:pt>
              </c:strCache>
            </c:strRef>
          </c:tx>
          <c:spPr>
            <a:solidFill>
              <a:schemeClr val="accent3"/>
            </a:solidFill>
            <a:ln>
              <a:noFill/>
            </a:ln>
            <a:effectLst/>
          </c:spPr>
          <c:invertIfNegative val="0"/>
          <c:cat>
            <c:multiLvlStrRef>
              <c:f>'DOOH Revenue Figures'!$B$3:$BA$4</c:f>
              <c:multiLvlStrCache>
                <c:ptCount val="52"/>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pt idx="18">
                    <c:v>Q3</c:v>
                  </c:pt>
                  <c:pt idx="19">
                    <c:v>Q4</c:v>
                  </c:pt>
                  <c:pt idx="20">
                    <c:v>Q1</c:v>
                  </c:pt>
                  <c:pt idx="21">
                    <c:v>Q2</c:v>
                  </c:pt>
                  <c:pt idx="22">
                    <c:v>Q3</c:v>
                  </c:pt>
                  <c:pt idx="23">
                    <c:v>Q4</c:v>
                  </c:pt>
                  <c:pt idx="24">
                    <c:v>Q1</c:v>
                  </c:pt>
                  <c:pt idx="25">
                    <c:v>Q2</c:v>
                  </c:pt>
                  <c:pt idx="26">
                    <c:v>Q3</c:v>
                  </c:pt>
                  <c:pt idx="27">
                    <c:v>Q4</c:v>
                  </c:pt>
                  <c:pt idx="28">
                    <c:v>Q1</c:v>
                  </c:pt>
                  <c:pt idx="29">
                    <c:v>Q2</c:v>
                  </c:pt>
                  <c:pt idx="30">
                    <c:v>Q3</c:v>
                  </c:pt>
                  <c:pt idx="31">
                    <c:v>Q4</c:v>
                  </c:pt>
                  <c:pt idx="32">
                    <c:v>Q1</c:v>
                  </c:pt>
                  <c:pt idx="33">
                    <c:v>Q2</c:v>
                  </c:pt>
                  <c:pt idx="34">
                    <c:v>Q3</c:v>
                  </c:pt>
                  <c:pt idx="35">
                    <c:v>Q4</c:v>
                  </c:pt>
                  <c:pt idx="36">
                    <c:v>Q1</c:v>
                  </c:pt>
                  <c:pt idx="37">
                    <c:v>Q2</c:v>
                  </c:pt>
                  <c:pt idx="38">
                    <c:v>Q3</c:v>
                  </c:pt>
                  <c:pt idx="39">
                    <c:v>Q4</c:v>
                  </c:pt>
                  <c:pt idx="40">
                    <c:v>Q1 </c:v>
                  </c:pt>
                  <c:pt idx="41">
                    <c:v>Q2</c:v>
                  </c:pt>
                  <c:pt idx="42">
                    <c:v>Q3</c:v>
                  </c:pt>
                  <c:pt idx="43">
                    <c:v>Q4</c:v>
                  </c:pt>
                  <c:pt idx="44">
                    <c:v>Q1 </c:v>
                  </c:pt>
                  <c:pt idx="45">
                    <c:v>Q2</c:v>
                  </c:pt>
                  <c:pt idx="46">
                    <c:v>Q3</c:v>
                  </c:pt>
                  <c:pt idx="47">
                    <c:v>Q4</c:v>
                  </c:pt>
                  <c:pt idx="48">
                    <c:v>Q1 </c:v>
                  </c:pt>
                  <c:pt idx="49">
                    <c:v>Q2</c:v>
                  </c:pt>
                  <c:pt idx="50">
                    <c:v>Q3</c:v>
                  </c:pt>
                  <c:pt idx="51">
                    <c:v>Q4</c:v>
                  </c:pt>
                </c:lvl>
                <c:lvl>
                  <c:pt idx="0">
                    <c:v>2011</c:v>
                  </c:pt>
                  <c:pt idx="4">
                    <c:v>2012</c:v>
                  </c:pt>
                  <c:pt idx="8">
                    <c:v>2013</c:v>
                  </c:pt>
                  <c:pt idx="12">
                    <c:v>2014</c:v>
                  </c:pt>
                  <c:pt idx="16">
                    <c:v>2015</c:v>
                  </c:pt>
                  <c:pt idx="20">
                    <c:v>2016</c:v>
                  </c:pt>
                  <c:pt idx="24">
                    <c:v>2017</c:v>
                  </c:pt>
                  <c:pt idx="28">
                    <c:v>2018</c:v>
                  </c:pt>
                  <c:pt idx="32">
                    <c:v>2019</c:v>
                  </c:pt>
                  <c:pt idx="36">
                    <c:v>2020</c:v>
                  </c:pt>
                  <c:pt idx="40">
                    <c:v>2021</c:v>
                  </c:pt>
                  <c:pt idx="44">
                    <c:v>2022</c:v>
                  </c:pt>
                  <c:pt idx="48">
                    <c:v>2023</c:v>
                  </c:pt>
                </c:lvl>
              </c:multiLvlStrCache>
            </c:multiLvlStrRef>
          </c:cat>
          <c:val>
            <c:numRef>
              <c:f>'DOOH Revenue Figures'!$B$7:$BA$7</c:f>
              <c:numCache>
                <c:formatCode>"£"#,##0</c:formatCode>
                <c:ptCount val="52"/>
                <c:pt idx="0">
                  <c:v>5496478</c:v>
                </c:pt>
                <c:pt idx="1">
                  <c:v>6482072</c:v>
                </c:pt>
                <c:pt idx="2">
                  <c:v>7149216</c:v>
                </c:pt>
                <c:pt idx="3">
                  <c:v>11366601</c:v>
                </c:pt>
                <c:pt idx="4">
                  <c:v>8409232</c:v>
                </c:pt>
                <c:pt idx="5">
                  <c:v>9254532</c:v>
                </c:pt>
                <c:pt idx="6">
                  <c:v>12314572</c:v>
                </c:pt>
                <c:pt idx="7">
                  <c:v>16487830</c:v>
                </c:pt>
                <c:pt idx="8">
                  <c:v>10873292</c:v>
                </c:pt>
                <c:pt idx="9">
                  <c:v>13364582</c:v>
                </c:pt>
                <c:pt idx="10">
                  <c:v>13711174</c:v>
                </c:pt>
                <c:pt idx="11">
                  <c:v>18354132</c:v>
                </c:pt>
                <c:pt idx="12">
                  <c:v>11633894.700000001</c:v>
                </c:pt>
                <c:pt idx="13">
                  <c:v>18357483</c:v>
                </c:pt>
                <c:pt idx="14">
                  <c:v>23108451</c:v>
                </c:pt>
                <c:pt idx="15">
                  <c:v>27376497</c:v>
                </c:pt>
                <c:pt idx="16">
                  <c:v>19364309</c:v>
                </c:pt>
                <c:pt idx="17">
                  <c:v>23758749</c:v>
                </c:pt>
                <c:pt idx="18">
                  <c:v>22207533.699999999</c:v>
                </c:pt>
                <c:pt idx="19">
                  <c:v>34152286.899999999</c:v>
                </c:pt>
                <c:pt idx="20">
                  <c:v>25737488.673469387</c:v>
                </c:pt>
                <c:pt idx="21">
                  <c:v>28460601.734693877</c:v>
                </c:pt>
                <c:pt idx="22">
                  <c:v>26606385.408163264</c:v>
                </c:pt>
                <c:pt idx="23">
                  <c:v>43167090.033673473</c:v>
                </c:pt>
                <c:pt idx="24">
                  <c:v>31774235.386650003</c:v>
                </c:pt>
                <c:pt idx="25">
                  <c:v>34654342.008577026</c:v>
                </c:pt>
                <c:pt idx="26">
                  <c:v>36277275.739851892</c:v>
                </c:pt>
                <c:pt idx="27">
                  <c:v>49978437.530588523</c:v>
                </c:pt>
                <c:pt idx="28">
                  <c:v>32490904.18</c:v>
                </c:pt>
                <c:pt idx="29">
                  <c:v>35362461.457247697</c:v>
                </c:pt>
                <c:pt idx="30">
                  <c:v>37551638.185914896</c:v>
                </c:pt>
                <c:pt idx="31">
                  <c:v>47925246.302486271</c:v>
                </c:pt>
                <c:pt idx="32">
                  <c:v>31816015.749560952</c:v>
                </c:pt>
                <c:pt idx="33">
                  <c:v>35836501.733868383</c:v>
                </c:pt>
                <c:pt idx="34">
                  <c:v>40644510.711213537</c:v>
                </c:pt>
                <c:pt idx="35">
                  <c:v>54581520.15909104</c:v>
                </c:pt>
                <c:pt idx="36">
                  <c:v>33126122.5</c:v>
                </c:pt>
                <c:pt idx="37">
                  <c:v>12313821.74194428</c:v>
                </c:pt>
                <c:pt idx="38">
                  <c:v>26428193.797524422</c:v>
                </c:pt>
                <c:pt idx="39">
                  <c:v>32075009.421015706</c:v>
                </c:pt>
                <c:pt idx="40">
                  <c:v>16147071.737684397</c:v>
                </c:pt>
                <c:pt idx="41">
                  <c:v>29905135.532311272</c:v>
                </c:pt>
                <c:pt idx="42">
                  <c:v>41411155.502627932</c:v>
                </c:pt>
                <c:pt idx="43">
                  <c:v>47802331.543016791</c:v>
                </c:pt>
                <c:pt idx="44" formatCode="_(* #,##0_);_(* \(#,##0\);_(* &quot;-&quot;_);@_)">
                  <c:v>31058144.081538994</c:v>
                </c:pt>
                <c:pt idx="45" formatCode="_(* #,##0_);_(* \(#,##0\);_(* &quot;-&quot;_);@_)">
                  <c:v>39089049.914083794</c:v>
                </c:pt>
                <c:pt idx="46" formatCode="_(* #,##0_);_(* \(#,##0\);_(* &quot;-&quot;_);@_)">
                  <c:v>43583647.002491981</c:v>
                </c:pt>
                <c:pt idx="47" formatCode="_(* #,##0_);_(* \(#,##0\);_(* &quot;-&quot;_);@_)">
                  <c:v>51122566.936192818</c:v>
                </c:pt>
                <c:pt idx="48" formatCode="_(* #,##0_);_(* \(#,##0\);_(* &quot;-&quot;_);@_)">
                  <c:v>31199983.007474218</c:v>
                </c:pt>
                <c:pt idx="49" formatCode="_(* #,##0_);_(* \(#,##0\);_(* &quot;-&quot;_);@_)">
                  <c:v>39081782.762084112</c:v>
                </c:pt>
                <c:pt idx="50">
                  <c:v>45668598.19993642</c:v>
                </c:pt>
                <c:pt idx="51" formatCode="&quot;£&quot;#,##0_);[Red]\(&quot;£&quot;#,##0\)">
                  <c:v>57156279</c:v>
                </c:pt>
              </c:numCache>
            </c:numRef>
          </c:val>
          <c:extLst>
            <c:ext xmlns:c16="http://schemas.microsoft.com/office/drawing/2014/chart" uri="{C3380CC4-5D6E-409C-BE32-E72D297353CC}">
              <c16:uniqueId val="{00000002-2B47-4879-B69D-2DA5311A1ABA}"/>
            </c:ext>
          </c:extLst>
        </c:ser>
        <c:dLbls>
          <c:showLegendKey val="0"/>
          <c:showVal val="0"/>
          <c:showCatName val="0"/>
          <c:showSerName val="0"/>
          <c:showPercent val="0"/>
          <c:showBubbleSize val="0"/>
        </c:dLbls>
        <c:gapWidth val="219"/>
        <c:overlap val="-27"/>
        <c:axId val="924807920"/>
        <c:axId val="927770592"/>
      </c:barChart>
      <c:catAx>
        <c:axId val="924807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7770592"/>
        <c:crosses val="autoZero"/>
        <c:auto val="1"/>
        <c:lblAlgn val="ctr"/>
        <c:lblOffset val="100"/>
        <c:noMultiLvlLbl val="0"/>
      </c:catAx>
      <c:valAx>
        <c:axId val="927770592"/>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4807920"/>
        <c:crosses val="autoZero"/>
        <c:crossBetween val="between"/>
        <c:dispUnits>
          <c:builtInUnit val="million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E811AF59-635B-4E14-85FD-DC70C246AEE2}" type="datetimeFigureOut">
              <a:rPr lang="en-GB" smtClean="0"/>
              <a:t>18/03/2024</a:t>
            </a:fld>
            <a:endParaRPr lang="en-GB"/>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FBD8D28C-B58E-45F5-995E-C74F3B72E8FA}" type="slidenum">
              <a:rPr lang="en-GB" smtClean="0"/>
              <a:t>‹#›</a:t>
            </a:fld>
            <a:endParaRPr lang="en-GB"/>
          </a:p>
        </p:txBody>
      </p:sp>
    </p:spTree>
    <p:extLst>
      <p:ext uri="{BB962C8B-B14F-4D97-AF65-F5344CB8AC3E}">
        <p14:creationId xmlns:p14="http://schemas.microsoft.com/office/powerpoint/2010/main" val="26232688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D0D7F613-99C4-4702-BB0C-FCBCA975605F}" type="datetimeFigureOut">
              <a:rPr lang="en-GB" smtClean="0"/>
              <a:t>18/03/2024</a:t>
            </a:fld>
            <a:endParaRPr lang="en-GB"/>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19957262-59D7-40C0-BDE8-4D826AF373C1}" type="slidenum">
              <a:rPr lang="en-GB" smtClean="0"/>
              <a:t>‹#›</a:t>
            </a:fld>
            <a:endParaRPr lang="en-GB"/>
          </a:p>
        </p:txBody>
      </p:sp>
    </p:spTree>
    <p:extLst>
      <p:ext uri="{BB962C8B-B14F-4D97-AF65-F5344CB8AC3E}">
        <p14:creationId xmlns:p14="http://schemas.microsoft.com/office/powerpoint/2010/main" val="3655051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9957262-59D7-40C0-BDE8-4D826AF373C1}" type="slidenum">
              <a:rPr lang="en-GB" smtClean="0"/>
              <a:t>7</a:t>
            </a:fld>
            <a:endParaRPr lang="en-GB"/>
          </a:p>
        </p:txBody>
      </p:sp>
    </p:spTree>
    <p:extLst>
      <p:ext uri="{BB962C8B-B14F-4D97-AF65-F5344CB8AC3E}">
        <p14:creationId xmlns:p14="http://schemas.microsoft.com/office/powerpoint/2010/main" val="25908518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957262-59D7-40C0-BDE8-4D826AF373C1}" type="slidenum">
              <a:rPr lang="en-GB" smtClean="0"/>
              <a:t>8</a:t>
            </a:fld>
            <a:endParaRPr lang="en-GB"/>
          </a:p>
        </p:txBody>
      </p:sp>
    </p:spTree>
    <p:extLst>
      <p:ext uri="{BB962C8B-B14F-4D97-AF65-F5344CB8AC3E}">
        <p14:creationId xmlns:p14="http://schemas.microsoft.com/office/powerpoint/2010/main" val="30349351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957262-59D7-40C0-BDE8-4D826AF373C1}"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32039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9957262-59D7-40C0-BDE8-4D826AF373C1}" type="slidenum">
              <a:rPr lang="en-GB" smtClean="0"/>
              <a:t>10</a:t>
            </a:fld>
            <a:endParaRPr lang="en-GB"/>
          </a:p>
        </p:txBody>
      </p:sp>
    </p:spTree>
    <p:extLst>
      <p:ext uri="{BB962C8B-B14F-4D97-AF65-F5344CB8AC3E}">
        <p14:creationId xmlns:p14="http://schemas.microsoft.com/office/powerpoint/2010/main" val="35754029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ase Study - cover">
    <p:spTree>
      <p:nvGrpSpPr>
        <p:cNvPr id="1" name=""/>
        <p:cNvGrpSpPr/>
        <p:nvPr/>
      </p:nvGrpSpPr>
      <p:grpSpPr>
        <a:xfrm>
          <a:off x="0" y="0"/>
          <a:ext cx="0" cy="0"/>
          <a:chOff x="0" y="0"/>
          <a:chExt cx="0" cy="0"/>
        </a:xfrm>
      </p:grpSpPr>
      <p:sp>
        <p:nvSpPr>
          <p:cNvPr id="23" name="Picture Placeholder 22"/>
          <p:cNvSpPr>
            <a:spLocks noGrp="1"/>
          </p:cNvSpPr>
          <p:nvPr>
            <p:ph type="pic" sz="quarter" idx="17"/>
          </p:nvPr>
        </p:nvSpPr>
        <p:spPr>
          <a:xfrm>
            <a:off x="0" y="0"/>
            <a:ext cx="12195175" cy="6858000"/>
          </a:xfrm>
        </p:spPr>
        <p:txBody>
          <a:bodyPr/>
          <a:lstStyle/>
          <a:p>
            <a:endParaRPr lang="en-GB"/>
          </a:p>
        </p:txBody>
      </p:sp>
      <p:grpSp>
        <p:nvGrpSpPr>
          <p:cNvPr id="8" name="Group 7"/>
          <p:cNvGrpSpPr>
            <a:grpSpLocks noChangeAspect="1"/>
          </p:cNvGrpSpPr>
          <p:nvPr userDrawn="1"/>
        </p:nvGrpSpPr>
        <p:grpSpPr>
          <a:xfrm>
            <a:off x="438149" y="6230422"/>
            <a:ext cx="1476000" cy="196205"/>
            <a:chOff x="6905625" y="4194175"/>
            <a:chExt cx="3152775" cy="419100"/>
          </a:xfrm>
          <a:solidFill>
            <a:schemeClr val="bg1"/>
          </a:solidFill>
        </p:grpSpPr>
        <p:sp>
          <p:nvSpPr>
            <p:cNvPr id="9" name="Freeform 6"/>
            <p:cNvSpPr>
              <a:spLocks noEditPoints="1"/>
            </p:cNvSpPr>
            <p:nvPr userDrawn="1"/>
          </p:nvSpPr>
          <p:spPr bwMode="auto">
            <a:xfrm>
              <a:off x="7824788" y="4200525"/>
              <a:ext cx="295275" cy="406400"/>
            </a:xfrm>
            <a:custGeom>
              <a:avLst/>
              <a:gdLst>
                <a:gd name="T0" fmla="*/ 174 w 186"/>
                <a:gd name="T1" fmla="*/ 11 h 256"/>
                <a:gd name="T2" fmla="*/ 174 w 186"/>
                <a:gd name="T3" fmla="*/ 32 h 256"/>
                <a:gd name="T4" fmla="*/ 118 w 186"/>
                <a:gd name="T5" fmla="*/ 32 h 256"/>
                <a:gd name="T6" fmla="*/ 106 w 186"/>
                <a:gd name="T7" fmla="*/ 32 h 256"/>
                <a:gd name="T8" fmla="*/ 106 w 186"/>
                <a:gd name="T9" fmla="*/ 44 h 256"/>
                <a:gd name="T10" fmla="*/ 106 w 186"/>
                <a:gd name="T11" fmla="*/ 245 h 256"/>
                <a:gd name="T12" fmla="*/ 79 w 186"/>
                <a:gd name="T13" fmla="*/ 245 h 256"/>
                <a:gd name="T14" fmla="*/ 79 w 186"/>
                <a:gd name="T15" fmla="*/ 44 h 256"/>
                <a:gd name="T16" fmla="*/ 79 w 186"/>
                <a:gd name="T17" fmla="*/ 32 h 256"/>
                <a:gd name="T18" fmla="*/ 68 w 186"/>
                <a:gd name="T19" fmla="*/ 32 h 256"/>
                <a:gd name="T20" fmla="*/ 11 w 186"/>
                <a:gd name="T21" fmla="*/ 32 h 256"/>
                <a:gd name="T22" fmla="*/ 11 w 186"/>
                <a:gd name="T23" fmla="*/ 11 h 256"/>
                <a:gd name="T24" fmla="*/ 174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4" y="11"/>
                  </a:moveTo>
                  <a:lnTo>
                    <a:pt x="174" y="32"/>
                  </a:lnTo>
                  <a:lnTo>
                    <a:pt x="118" y="32"/>
                  </a:lnTo>
                  <a:lnTo>
                    <a:pt x="106" y="32"/>
                  </a:lnTo>
                  <a:lnTo>
                    <a:pt x="106" y="44"/>
                  </a:lnTo>
                  <a:lnTo>
                    <a:pt x="106" y="245"/>
                  </a:lnTo>
                  <a:lnTo>
                    <a:pt x="79" y="245"/>
                  </a:lnTo>
                  <a:lnTo>
                    <a:pt x="79" y="44"/>
                  </a:lnTo>
                  <a:lnTo>
                    <a:pt x="79" y="32"/>
                  </a:lnTo>
                  <a:lnTo>
                    <a:pt x="68" y="32"/>
                  </a:lnTo>
                  <a:lnTo>
                    <a:pt x="11" y="32"/>
                  </a:lnTo>
                  <a:lnTo>
                    <a:pt x="11" y="11"/>
                  </a:lnTo>
                  <a:lnTo>
                    <a:pt x="174"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9"/>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close/>
                  <a:moveTo>
                    <a:pt x="78" y="167"/>
                  </a:moveTo>
                  <a:lnTo>
                    <a:pt x="95" y="167"/>
                  </a:lnTo>
                  <a:lnTo>
                    <a:pt x="160" y="167"/>
                  </a:lnTo>
                  <a:lnTo>
                    <a:pt x="177" y="167"/>
                  </a:lnTo>
                  <a:lnTo>
                    <a:pt x="170" y="151"/>
                  </a:lnTo>
                  <a:lnTo>
                    <a:pt x="138" y="75"/>
                  </a:lnTo>
                  <a:lnTo>
                    <a:pt x="127" y="51"/>
                  </a:lnTo>
                  <a:lnTo>
                    <a:pt x="117" y="75"/>
                  </a:lnTo>
                  <a:lnTo>
                    <a:pt x="84" y="151"/>
                  </a:lnTo>
                  <a:lnTo>
                    <a:pt x="78" y="167"/>
                  </a:lnTo>
                  <a:close/>
                  <a:moveTo>
                    <a:pt x="145" y="0"/>
                  </a:moveTo>
                  <a:lnTo>
                    <a:pt x="110" y="0"/>
                  </a:lnTo>
                  <a:lnTo>
                    <a:pt x="0" y="256"/>
                  </a:lnTo>
                  <a:lnTo>
                    <a:pt x="52" y="256"/>
                  </a:lnTo>
                  <a:lnTo>
                    <a:pt x="76" y="199"/>
                  </a:lnTo>
                  <a:lnTo>
                    <a:pt x="179" y="199"/>
                  </a:lnTo>
                  <a:lnTo>
                    <a:pt x="203" y="256"/>
                  </a:lnTo>
                  <a:lnTo>
                    <a:pt x="255" y="256"/>
                  </a:lnTo>
                  <a:lnTo>
                    <a:pt x="145" y="0"/>
                  </a:lnTo>
                  <a:close/>
                  <a:moveTo>
                    <a:pt x="95" y="156"/>
                  </a:moveTo>
                  <a:lnTo>
                    <a:pt x="127" y="80"/>
                  </a:lnTo>
                  <a:lnTo>
                    <a:pt x="160" y="156"/>
                  </a:lnTo>
                  <a:lnTo>
                    <a:pt x="95"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5"/>
            <p:cNvSpPr>
              <a:spLocks noEditPoints="1"/>
            </p:cNvSpPr>
            <p:nvPr userDrawn="1"/>
          </p:nvSpPr>
          <p:spPr bwMode="auto">
            <a:xfrm>
              <a:off x="7410450" y="4200525"/>
              <a:ext cx="350838" cy="412750"/>
            </a:xfrm>
            <a:custGeom>
              <a:avLst/>
              <a:gdLst>
                <a:gd name="T0" fmla="*/ 2198 w 2316"/>
                <a:gd name="T1" fmla="*/ 117 h 2741"/>
                <a:gd name="T2" fmla="*/ 2198 w 2316"/>
                <a:gd name="T3" fmla="*/ 1563 h 2741"/>
                <a:gd name="T4" fmla="*/ 1890 w 2316"/>
                <a:gd name="T5" fmla="*/ 2375 h 2741"/>
                <a:gd name="T6" fmla="*/ 1158 w 2316"/>
                <a:gd name="T7" fmla="*/ 2624 h 2741"/>
                <a:gd name="T8" fmla="*/ 425 w 2316"/>
                <a:gd name="T9" fmla="*/ 2376 h 2741"/>
                <a:gd name="T10" fmla="*/ 117 w 2316"/>
                <a:gd name="T11" fmla="*/ 1563 h 2741"/>
                <a:gd name="T12" fmla="*/ 117 w 2316"/>
                <a:gd name="T13" fmla="*/ 117 h 2741"/>
                <a:gd name="T14" fmla="*/ 404 w 2316"/>
                <a:gd name="T15" fmla="*/ 117 h 2741"/>
                <a:gd name="T16" fmla="*/ 404 w 2316"/>
                <a:gd name="T17" fmla="*/ 1602 h 2741"/>
                <a:gd name="T18" fmla="*/ 618 w 2316"/>
                <a:gd name="T19" fmla="*/ 2189 h 2741"/>
                <a:gd name="T20" fmla="*/ 1158 w 2316"/>
                <a:gd name="T21" fmla="*/ 2395 h 2741"/>
                <a:gd name="T22" fmla="*/ 1698 w 2316"/>
                <a:gd name="T23" fmla="*/ 2189 h 2741"/>
                <a:gd name="T24" fmla="*/ 1912 w 2316"/>
                <a:gd name="T25" fmla="*/ 1602 h 2741"/>
                <a:gd name="T26" fmla="*/ 1912 w 2316"/>
                <a:gd name="T27" fmla="*/ 117 h 2741"/>
                <a:gd name="T28" fmla="*/ 2198 w 2316"/>
                <a:gd name="T29" fmla="*/ 117 h 2741"/>
                <a:gd name="T30" fmla="*/ 2316 w 2316"/>
                <a:gd name="T31" fmla="*/ 0 h 2741"/>
                <a:gd name="T32" fmla="*/ 1794 w 2316"/>
                <a:gd name="T33" fmla="*/ 0 h 2741"/>
                <a:gd name="T34" fmla="*/ 1794 w 2316"/>
                <a:gd name="T35" fmla="*/ 1602 h 2741"/>
                <a:gd name="T36" fmla="*/ 1617 w 2316"/>
                <a:gd name="T37" fmla="*/ 2104 h 2741"/>
                <a:gd name="T38" fmla="*/ 1158 w 2316"/>
                <a:gd name="T39" fmla="*/ 2277 h 2741"/>
                <a:gd name="T40" fmla="*/ 698 w 2316"/>
                <a:gd name="T41" fmla="*/ 2104 h 2741"/>
                <a:gd name="T42" fmla="*/ 521 w 2316"/>
                <a:gd name="T43" fmla="*/ 1602 h 2741"/>
                <a:gd name="T44" fmla="*/ 521 w 2316"/>
                <a:gd name="T45" fmla="*/ 0 h 2741"/>
                <a:gd name="T46" fmla="*/ 0 w 2316"/>
                <a:gd name="T47" fmla="*/ 0 h 2741"/>
                <a:gd name="T48" fmla="*/ 0 w 2316"/>
                <a:gd name="T49" fmla="*/ 1563 h 2741"/>
                <a:gd name="T50" fmla="*/ 347 w 2316"/>
                <a:gd name="T51" fmla="*/ 2463 h 2741"/>
                <a:gd name="T52" fmla="*/ 1158 w 2316"/>
                <a:gd name="T53" fmla="*/ 2741 h 2741"/>
                <a:gd name="T54" fmla="*/ 1968 w 2316"/>
                <a:gd name="T55" fmla="*/ 2463 h 2741"/>
                <a:gd name="T56" fmla="*/ 2316 w 2316"/>
                <a:gd name="T57" fmla="*/ 1563 h 2741"/>
                <a:gd name="T58" fmla="*/ 2316 w 2316"/>
                <a:gd name="T59" fmla="*/ 0 h 2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6" h="2741">
                  <a:moveTo>
                    <a:pt x="2198" y="117"/>
                  </a:moveTo>
                  <a:cubicBezTo>
                    <a:pt x="2198" y="1563"/>
                    <a:pt x="2198" y="1563"/>
                    <a:pt x="2198" y="1563"/>
                  </a:cubicBezTo>
                  <a:cubicBezTo>
                    <a:pt x="2198" y="1924"/>
                    <a:pt x="2098" y="2189"/>
                    <a:pt x="1890" y="2375"/>
                  </a:cubicBezTo>
                  <a:cubicBezTo>
                    <a:pt x="1713" y="2533"/>
                    <a:pt x="1446" y="2624"/>
                    <a:pt x="1158" y="2624"/>
                  </a:cubicBezTo>
                  <a:cubicBezTo>
                    <a:pt x="870" y="2624"/>
                    <a:pt x="602" y="2533"/>
                    <a:pt x="425" y="2376"/>
                  </a:cubicBezTo>
                  <a:cubicBezTo>
                    <a:pt x="218" y="2190"/>
                    <a:pt x="117" y="1924"/>
                    <a:pt x="117" y="1563"/>
                  </a:cubicBezTo>
                  <a:cubicBezTo>
                    <a:pt x="117" y="117"/>
                    <a:pt x="117" y="117"/>
                    <a:pt x="117" y="117"/>
                  </a:cubicBezTo>
                  <a:cubicBezTo>
                    <a:pt x="404" y="117"/>
                    <a:pt x="404" y="117"/>
                    <a:pt x="404" y="117"/>
                  </a:cubicBezTo>
                  <a:cubicBezTo>
                    <a:pt x="404" y="1602"/>
                    <a:pt x="404" y="1602"/>
                    <a:pt x="404" y="1602"/>
                  </a:cubicBezTo>
                  <a:cubicBezTo>
                    <a:pt x="404" y="1866"/>
                    <a:pt x="472" y="2052"/>
                    <a:pt x="618" y="2189"/>
                  </a:cubicBezTo>
                  <a:cubicBezTo>
                    <a:pt x="756" y="2321"/>
                    <a:pt x="947" y="2395"/>
                    <a:pt x="1158" y="2395"/>
                  </a:cubicBezTo>
                  <a:cubicBezTo>
                    <a:pt x="1368" y="2395"/>
                    <a:pt x="1560" y="2321"/>
                    <a:pt x="1698" y="2189"/>
                  </a:cubicBezTo>
                  <a:cubicBezTo>
                    <a:pt x="1844" y="2052"/>
                    <a:pt x="1912" y="1866"/>
                    <a:pt x="1912" y="1602"/>
                  </a:cubicBezTo>
                  <a:cubicBezTo>
                    <a:pt x="1912" y="117"/>
                    <a:pt x="1912" y="117"/>
                    <a:pt x="1912" y="117"/>
                  </a:cubicBezTo>
                  <a:cubicBezTo>
                    <a:pt x="2198" y="117"/>
                    <a:pt x="2198" y="117"/>
                    <a:pt x="2198" y="117"/>
                  </a:cubicBezTo>
                  <a:moveTo>
                    <a:pt x="2316" y="0"/>
                  </a:moveTo>
                  <a:cubicBezTo>
                    <a:pt x="1794" y="0"/>
                    <a:pt x="1794" y="0"/>
                    <a:pt x="1794" y="0"/>
                  </a:cubicBezTo>
                  <a:cubicBezTo>
                    <a:pt x="1794" y="1602"/>
                    <a:pt x="1794" y="1602"/>
                    <a:pt x="1794" y="1602"/>
                  </a:cubicBezTo>
                  <a:cubicBezTo>
                    <a:pt x="1794" y="1849"/>
                    <a:pt x="1729" y="2000"/>
                    <a:pt x="1617" y="2104"/>
                  </a:cubicBezTo>
                  <a:cubicBezTo>
                    <a:pt x="1501" y="2216"/>
                    <a:pt x="1339" y="2277"/>
                    <a:pt x="1158" y="2277"/>
                  </a:cubicBezTo>
                  <a:cubicBezTo>
                    <a:pt x="976" y="2277"/>
                    <a:pt x="814" y="2216"/>
                    <a:pt x="698" y="2104"/>
                  </a:cubicBezTo>
                  <a:cubicBezTo>
                    <a:pt x="586" y="2000"/>
                    <a:pt x="521" y="1849"/>
                    <a:pt x="521" y="1602"/>
                  </a:cubicBezTo>
                  <a:cubicBezTo>
                    <a:pt x="521" y="0"/>
                    <a:pt x="521" y="0"/>
                    <a:pt x="521" y="0"/>
                  </a:cubicBezTo>
                  <a:cubicBezTo>
                    <a:pt x="0" y="0"/>
                    <a:pt x="0" y="0"/>
                    <a:pt x="0" y="0"/>
                  </a:cubicBezTo>
                  <a:cubicBezTo>
                    <a:pt x="0" y="1563"/>
                    <a:pt x="0" y="1563"/>
                    <a:pt x="0" y="1563"/>
                  </a:cubicBezTo>
                  <a:cubicBezTo>
                    <a:pt x="0" y="1976"/>
                    <a:pt x="123" y="2262"/>
                    <a:pt x="347" y="2463"/>
                  </a:cubicBezTo>
                  <a:cubicBezTo>
                    <a:pt x="556" y="2648"/>
                    <a:pt x="853" y="2741"/>
                    <a:pt x="1158" y="2741"/>
                  </a:cubicBezTo>
                  <a:cubicBezTo>
                    <a:pt x="1463" y="2741"/>
                    <a:pt x="1760" y="2648"/>
                    <a:pt x="1968" y="2463"/>
                  </a:cubicBezTo>
                  <a:cubicBezTo>
                    <a:pt x="2192" y="2262"/>
                    <a:pt x="2316" y="1976"/>
                    <a:pt x="2316" y="1563"/>
                  </a:cubicBezTo>
                  <a:lnTo>
                    <a:pt x="2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noEditPoints="1"/>
            </p:cNvSpPr>
            <p:nvPr userDrawn="1"/>
          </p:nvSpPr>
          <p:spPr bwMode="auto">
            <a:xfrm>
              <a:off x="8145463" y="4194175"/>
              <a:ext cx="285750" cy="419100"/>
            </a:xfrm>
            <a:custGeom>
              <a:avLst/>
              <a:gdLst>
                <a:gd name="T0" fmla="*/ 1016 w 1892"/>
                <a:gd name="T1" fmla="*/ 117 h 2779"/>
                <a:gd name="T2" fmla="*/ 1635 w 1892"/>
                <a:gd name="T3" fmla="*/ 284 h 2779"/>
                <a:gd name="T4" fmla="*/ 1502 w 1892"/>
                <a:gd name="T5" fmla="*/ 474 h 2779"/>
                <a:gd name="T6" fmla="*/ 1062 w 1892"/>
                <a:gd name="T7" fmla="*/ 346 h 2779"/>
                <a:gd name="T8" fmla="*/ 528 w 1892"/>
                <a:gd name="T9" fmla="*/ 756 h 2779"/>
                <a:gd name="T10" fmla="*/ 1057 w 1892"/>
                <a:gd name="T11" fmla="*/ 1224 h 2779"/>
                <a:gd name="T12" fmla="*/ 1775 w 1892"/>
                <a:gd name="T13" fmla="*/ 1968 h 2779"/>
                <a:gd name="T14" fmla="*/ 977 w 1892"/>
                <a:gd name="T15" fmla="*/ 2662 h 2779"/>
                <a:gd name="T16" fmla="*/ 171 w 1892"/>
                <a:gd name="T17" fmla="*/ 2365 h 2779"/>
                <a:gd name="T18" fmla="*/ 343 w 1892"/>
                <a:gd name="T19" fmla="*/ 2185 h 2779"/>
                <a:gd name="T20" fmla="*/ 977 w 1892"/>
                <a:gd name="T21" fmla="*/ 2433 h 2779"/>
                <a:gd name="T22" fmla="*/ 1488 w 1892"/>
                <a:gd name="T23" fmla="*/ 1976 h 2779"/>
                <a:gd name="T24" fmla="*/ 906 w 1892"/>
                <a:gd name="T25" fmla="*/ 1427 h 2779"/>
                <a:gd name="T26" fmla="*/ 565 w 1892"/>
                <a:gd name="T27" fmla="*/ 1272 h 2779"/>
                <a:gd name="T28" fmla="*/ 241 w 1892"/>
                <a:gd name="T29" fmla="*/ 760 h 2779"/>
                <a:gd name="T30" fmla="*/ 1016 w 1892"/>
                <a:gd name="T31" fmla="*/ 117 h 2779"/>
                <a:gd name="T32" fmla="*/ 1016 w 1892"/>
                <a:gd name="T33" fmla="*/ 0 h 2779"/>
                <a:gd name="T34" fmla="*/ 124 w 1892"/>
                <a:gd name="T35" fmla="*/ 760 h 2779"/>
                <a:gd name="T36" fmla="*/ 506 w 1892"/>
                <a:gd name="T37" fmla="*/ 1374 h 2779"/>
                <a:gd name="T38" fmla="*/ 1371 w 1892"/>
                <a:gd name="T39" fmla="*/ 1976 h 2779"/>
                <a:gd name="T40" fmla="*/ 977 w 1892"/>
                <a:gd name="T41" fmla="*/ 2315 h 2779"/>
                <a:gd name="T42" fmla="*/ 340 w 1892"/>
                <a:gd name="T43" fmla="*/ 2018 h 2779"/>
                <a:gd name="T44" fmla="*/ 0 w 1892"/>
                <a:gd name="T45" fmla="*/ 2373 h 2779"/>
                <a:gd name="T46" fmla="*/ 977 w 1892"/>
                <a:gd name="T47" fmla="*/ 2779 h 2779"/>
                <a:gd name="T48" fmla="*/ 1892 w 1892"/>
                <a:gd name="T49" fmla="*/ 1968 h 2779"/>
                <a:gd name="T50" fmla="*/ 645 w 1892"/>
                <a:gd name="T51" fmla="*/ 756 h 2779"/>
                <a:gd name="T52" fmla="*/ 1062 w 1892"/>
                <a:gd name="T53" fmla="*/ 463 h 2779"/>
                <a:gd name="T54" fmla="*/ 1529 w 1892"/>
                <a:gd name="T55" fmla="*/ 640 h 2779"/>
                <a:gd name="T56" fmla="*/ 1799 w 1892"/>
                <a:gd name="T57" fmla="*/ 254 h 2779"/>
                <a:gd name="T58" fmla="*/ 1016 w 1892"/>
                <a:gd name="T59" fmla="*/ 0 h 2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92" h="2779">
                  <a:moveTo>
                    <a:pt x="1016" y="117"/>
                  </a:moveTo>
                  <a:cubicBezTo>
                    <a:pt x="1253" y="117"/>
                    <a:pt x="1449" y="169"/>
                    <a:pt x="1635" y="284"/>
                  </a:cubicBezTo>
                  <a:cubicBezTo>
                    <a:pt x="1502" y="474"/>
                    <a:pt x="1502" y="474"/>
                    <a:pt x="1502" y="474"/>
                  </a:cubicBezTo>
                  <a:cubicBezTo>
                    <a:pt x="1374" y="394"/>
                    <a:pt x="1212" y="346"/>
                    <a:pt x="1062" y="346"/>
                  </a:cubicBezTo>
                  <a:cubicBezTo>
                    <a:pt x="748" y="346"/>
                    <a:pt x="528" y="515"/>
                    <a:pt x="528" y="756"/>
                  </a:cubicBezTo>
                  <a:cubicBezTo>
                    <a:pt x="528" y="1014"/>
                    <a:pt x="785" y="1116"/>
                    <a:pt x="1057" y="1224"/>
                  </a:cubicBezTo>
                  <a:cubicBezTo>
                    <a:pt x="1410" y="1364"/>
                    <a:pt x="1775" y="1509"/>
                    <a:pt x="1775" y="1968"/>
                  </a:cubicBezTo>
                  <a:cubicBezTo>
                    <a:pt x="1775" y="2402"/>
                    <a:pt x="1369" y="2662"/>
                    <a:pt x="977" y="2662"/>
                  </a:cubicBezTo>
                  <a:cubicBezTo>
                    <a:pt x="693" y="2662"/>
                    <a:pt x="416" y="2559"/>
                    <a:pt x="171" y="2365"/>
                  </a:cubicBezTo>
                  <a:cubicBezTo>
                    <a:pt x="343" y="2185"/>
                    <a:pt x="343" y="2185"/>
                    <a:pt x="343" y="2185"/>
                  </a:cubicBezTo>
                  <a:cubicBezTo>
                    <a:pt x="524" y="2341"/>
                    <a:pt x="754" y="2433"/>
                    <a:pt x="977" y="2433"/>
                  </a:cubicBezTo>
                  <a:cubicBezTo>
                    <a:pt x="1273" y="2433"/>
                    <a:pt x="1488" y="2240"/>
                    <a:pt x="1488" y="1976"/>
                  </a:cubicBezTo>
                  <a:cubicBezTo>
                    <a:pt x="1488" y="1656"/>
                    <a:pt x="1192" y="1539"/>
                    <a:pt x="906" y="1427"/>
                  </a:cubicBezTo>
                  <a:cubicBezTo>
                    <a:pt x="790" y="1381"/>
                    <a:pt x="669" y="1334"/>
                    <a:pt x="565" y="1272"/>
                  </a:cubicBezTo>
                  <a:cubicBezTo>
                    <a:pt x="344" y="1144"/>
                    <a:pt x="241" y="981"/>
                    <a:pt x="241" y="760"/>
                  </a:cubicBezTo>
                  <a:cubicBezTo>
                    <a:pt x="241" y="342"/>
                    <a:pt x="640" y="117"/>
                    <a:pt x="1016" y="117"/>
                  </a:cubicBezTo>
                  <a:moveTo>
                    <a:pt x="1016" y="0"/>
                  </a:moveTo>
                  <a:cubicBezTo>
                    <a:pt x="568" y="0"/>
                    <a:pt x="124" y="278"/>
                    <a:pt x="124" y="760"/>
                  </a:cubicBezTo>
                  <a:cubicBezTo>
                    <a:pt x="124" y="1065"/>
                    <a:pt x="294" y="1250"/>
                    <a:pt x="506" y="1374"/>
                  </a:cubicBezTo>
                  <a:cubicBezTo>
                    <a:pt x="869" y="1586"/>
                    <a:pt x="1371" y="1628"/>
                    <a:pt x="1371" y="1976"/>
                  </a:cubicBezTo>
                  <a:cubicBezTo>
                    <a:pt x="1371" y="2173"/>
                    <a:pt x="1209" y="2315"/>
                    <a:pt x="977" y="2315"/>
                  </a:cubicBezTo>
                  <a:cubicBezTo>
                    <a:pt x="730" y="2315"/>
                    <a:pt x="494" y="2188"/>
                    <a:pt x="340" y="2018"/>
                  </a:cubicBezTo>
                  <a:cubicBezTo>
                    <a:pt x="0" y="2373"/>
                    <a:pt x="0" y="2373"/>
                    <a:pt x="0" y="2373"/>
                  </a:cubicBezTo>
                  <a:cubicBezTo>
                    <a:pt x="278" y="2628"/>
                    <a:pt x="614" y="2779"/>
                    <a:pt x="977" y="2779"/>
                  </a:cubicBezTo>
                  <a:cubicBezTo>
                    <a:pt x="1463" y="2779"/>
                    <a:pt x="1892" y="2447"/>
                    <a:pt x="1892" y="1968"/>
                  </a:cubicBezTo>
                  <a:cubicBezTo>
                    <a:pt x="1892" y="1057"/>
                    <a:pt x="645" y="1192"/>
                    <a:pt x="645" y="756"/>
                  </a:cubicBezTo>
                  <a:cubicBezTo>
                    <a:pt x="645" y="548"/>
                    <a:pt x="865" y="463"/>
                    <a:pt x="1062" y="463"/>
                  </a:cubicBezTo>
                  <a:cubicBezTo>
                    <a:pt x="1239" y="463"/>
                    <a:pt x="1421" y="540"/>
                    <a:pt x="1529" y="640"/>
                  </a:cubicBezTo>
                  <a:cubicBezTo>
                    <a:pt x="1799" y="254"/>
                    <a:pt x="1799" y="254"/>
                    <a:pt x="1799" y="254"/>
                  </a:cubicBezTo>
                  <a:cubicBezTo>
                    <a:pt x="1544" y="65"/>
                    <a:pt x="1290" y="0"/>
                    <a:pt x="10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8497888" y="4200525"/>
              <a:ext cx="407988" cy="406400"/>
            </a:xfrm>
            <a:custGeom>
              <a:avLst/>
              <a:gdLst>
                <a:gd name="T0" fmla="*/ 246 w 257"/>
                <a:gd name="T1" fmla="*/ 11 h 256"/>
                <a:gd name="T2" fmla="*/ 246 w 257"/>
                <a:gd name="T3" fmla="*/ 245 h 256"/>
                <a:gd name="T4" fmla="*/ 219 w 257"/>
                <a:gd name="T5" fmla="*/ 245 h 256"/>
                <a:gd name="T6" fmla="*/ 219 w 257"/>
                <a:gd name="T7" fmla="*/ 113 h 256"/>
                <a:gd name="T8" fmla="*/ 219 w 257"/>
                <a:gd name="T9" fmla="*/ 74 h 256"/>
                <a:gd name="T10" fmla="*/ 198 w 257"/>
                <a:gd name="T11" fmla="*/ 108 h 256"/>
                <a:gd name="T12" fmla="*/ 140 w 257"/>
                <a:gd name="T13" fmla="*/ 203 h 256"/>
                <a:gd name="T14" fmla="*/ 118 w 257"/>
                <a:gd name="T15" fmla="*/ 203 h 256"/>
                <a:gd name="T16" fmla="*/ 59 w 257"/>
                <a:gd name="T17" fmla="*/ 108 h 256"/>
                <a:gd name="T18" fmla="*/ 39 w 257"/>
                <a:gd name="T19" fmla="*/ 74 h 256"/>
                <a:gd name="T20" fmla="*/ 39 w 257"/>
                <a:gd name="T21" fmla="*/ 113 h 256"/>
                <a:gd name="T22" fmla="*/ 39 w 257"/>
                <a:gd name="T23" fmla="*/ 245 h 256"/>
                <a:gd name="T24" fmla="*/ 11 w 257"/>
                <a:gd name="T25" fmla="*/ 245 h 256"/>
                <a:gd name="T26" fmla="*/ 11 w 257"/>
                <a:gd name="T27" fmla="*/ 11 h 256"/>
                <a:gd name="T28" fmla="*/ 29 w 257"/>
                <a:gd name="T29" fmla="*/ 11 h 256"/>
                <a:gd name="T30" fmla="*/ 119 w 257"/>
                <a:gd name="T31" fmla="*/ 159 h 256"/>
                <a:gd name="T32" fmla="*/ 129 w 257"/>
                <a:gd name="T33" fmla="*/ 175 h 256"/>
                <a:gd name="T34" fmla="*/ 138 w 257"/>
                <a:gd name="T35" fmla="*/ 159 h 256"/>
                <a:gd name="T36" fmla="*/ 229 w 257"/>
                <a:gd name="T37" fmla="*/ 11 h 256"/>
                <a:gd name="T38" fmla="*/ 246 w 257"/>
                <a:gd name="T39" fmla="*/ 11 h 256"/>
                <a:gd name="T40" fmla="*/ 257 w 257"/>
                <a:gd name="T41" fmla="*/ 0 h 256"/>
                <a:gd name="T42" fmla="*/ 223 w 257"/>
                <a:gd name="T43" fmla="*/ 0 h 256"/>
                <a:gd name="T44" fmla="*/ 129 w 257"/>
                <a:gd name="T45" fmla="*/ 153 h 256"/>
                <a:gd name="T46" fmla="*/ 35 w 257"/>
                <a:gd name="T47" fmla="*/ 0 h 256"/>
                <a:gd name="T48" fmla="*/ 0 w 257"/>
                <a:gd name="T49" fmla="*/ 0 h 256"/>
                <a:gd name="T50" fmla="*/ 0 w 257"/>
                <a:gd name="T51" fmla="*/ 256 h 256"/>
                <a:gd name="T52" fmla="*/ 50 w 257"/>
                <a:gd name="T53" fmla="*/ 256 h 256"/>
                <a:gd name="T54" fmla="*/ 50 w 257"/>
                <a:gd name="T55" fmla="*/ 113 h 256"/>
                <a:gd name="T56" fmla="*/ 112 w 257"/>
                <a:gd name="T57" fmla="*/ 214 h 256"/>
                <a:gd name="T58" fmla="*/ 146 w 257"/>
                <a:gd name="T59" fmla="*/ 214 h 256"/>
                <a:gd name="T60" fmla="*/ 208 w 257"/>
                <a:gd name="T61" fmla="*/ 113 h 256"/>
                <a:gd name="T62" fmla="*/ 208 w 257"/>
                <a:gd name="T63" fmla="*/ 256 h 256"/>
                <a:gd name="T64" fmla="*/ 257 w 257"/>
                <a:gd name="T65" fmla="*/ 256 h 256"/>
                <a:gd name="T66" fmla="*/ 257 w 257"/>
                <a:gd name="T6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56">
                  <a:moveTo>
                    <a:pt x="246" y="11"/>
                  </a:moveTo>
                  <a:lnTo>
                    <a:pt x="246" y="245"/>
                  </a:lnTo>
                  <a:lnTo>
                    <a:pt x="219" y="245"/>
                  </a:lnTo>
                  <a:lnTo>
                    <a:pt x="219" y="113"/>
                  </a:lnTo>
                  <a:lnTo>
                    <a:pt x="219" y="74"/>
                  </a:lnTo>
                  <a:lnTo>
                    <a:pt x="198" y="108"/>
                  </a:lnTo>
                  <a:lnTo>
                    <a:pt x="140" y="203"/>
                  </a:lnTo>
                  <a:lnTo>
                    <a:pt x="118" y="203"/>
                  </a:lnTo>
                  <a:lnTo>
                    <a:pt x="59" y="108"/>
                  </a:lnTo>
                  <a:lnTo>
                    <a:pt x="39" y="74"/>
                  </a:lnTo>
                  <a:lnTo>
                    <a:pt x="39" y="113"/>
                  </a:lnTo>
                  <a:lnTo>
                    <a:pt x="39" y="245"/>
                  </a:lnTo>
                  <a:lnTo>
                    <a:pt x="11" y="245"/>
                  </a:lnTo>
                  <a:lnTo>
                    <a:pt x="11" y="11"/>
                  </a:lnTo>
                  <a:lnTo>
                    <a:pt x="29" y="11"/>
                  </a:lnTo>
                  <a:lnTo>
                    <a:pt x="119" y="159"/>
                  </a:lnTo>
                  <a:lnTo>
                    <a:pt x="129" y="175"/>
                  </a:lnTo>
                  <a:lnTo>
                    <a:pt x="138" y="159"/>
                  </a:lnTo>
                  <a:lnTo>
                    <a:pt x="229" y="11"/>
                  </a:lnTo>
                  <a:lnTo>
                    <a:pt x="246" y="11"/>
                  </a:lnTo>
                  <a:close/>
                  <a:moveTo>
                    <a:pt x="257" y="0"/>
                  </a:moveTo>
                  <a:lnTo>
                    <a:pt x="223" y="0"/>
                  </a:lnTo>
                  <a:lnTo>
                    <a:pt x="129" y="153"/>
                  </a:lnTo>
                  <a:lnTo>
                    <a:pt x="35" y="0"/>
                  </a:lnTo>
                  <a:lnTo>
                    <a:pt x="0" y="0"/>
                  </a:lnTo>
                  <a:lnTo>
                    <a:pt x="0" y="256"/>
                  </a:lnTo>
                  <a:lnTo>
                    <a:pt x="50" y="256"/>
                  </a:lnTo>
                  <a:lnTo>
                    <a:pt x="50" y="113"/>
                  </a:lnTo>
                  <a:lnTo>
                    <a:pt x="112" y="214"/>
                  </a:lnTo>
                  <a:lnTo>
                    <a:pt x="146" y="214"/>
                  </a:lnTo>
                  <a:lnTo>
                    <a:pt x="208" y="113"/>
                  </a:lnTo>
                  <a:lnTo>
                    <a:pt x="208" y="256"/>
                  </a:lnTo>
                  <a:lnTo>
                    <a:pt x="257" y="256"/>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0"/>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moveTo>
                    <a:pt x="78" y="167"/>
                  </a:moveTo>
                  <a:lnTo>
                    <a:pt x="95" y="167"/>
                  </a:lnTo>
                  <a:lnTo>
                    <a:pt x="160" y="167"/>
                  </a:lnTo>
                  <a:lnTo>
                    <a:pt x="177" y="167"/>
                  </a:lnTo>
                  <a:lnTo>
                    <a:pt x="170" y="151"/>
                  </a:lnTo>
                  <a:lnTo>
                    <a:pt x="138" y="75"/>
                  </a:lnTo>
                  <a:lnTo>
                    <a:pt x="127" y="51"/>
                  </a:lnTo>
                  <a:lnTo>
                    <a:pt x="117" y="75"/>
                  </a:lnTo>
                  <a:lnTo>
                    <a:pt x="84" y="151"/>
                  </a:lnTo>
                  <a:lnTo>
                    <a:pt x="78" y="167"/>
                  </a:lnTo>
                  <a:moveTo>
                    <a:pt x="145" y="0"/>
                  </a:moveTo>
                  <a:lnTo>
                    <a:pt x="110" y="0"/>
                  </a:lnTo>
                  <a:lnTo>
                    <a:pt x="0" y="256"/>
                  </a:lnTo>
                  <a:lnTo>
                    <a:pt x="52" y="256"/>
                  </a:lnTo>
                  <a:lnTo>
                    <a:pt x="76" y="199"/>
                  </a:lnTo>
                  <a:lnTo>
                    <a:pt x="179" y="199"/>
                  </a:lnTo>
                  <a:lnTo>
                    <a:pt x="203" y="256"/>
                  </a:lnTo>
                  <a:lnTo>
                    <a:pt x="255" y="256"/>
                  </a:lnTo>
                  <a:lnTo>
                    <a:pt x="145" y="0"/>
                  </a:lnTo>
                  <a:moveTo>
                    <a:pt x="95" y="156"/>
                  </a:moveTo>
                  <a:lnTo>
                    <a:pt x="127" y="80"/>
                  </a:lnTo>
                  <a:lnTo>
                    <a:pt x="160" y="156"/>
                  </a:lnTo>
                  <a:lnTo>
                    <a:pt x="95" y="1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1"/>
            <p:cNvSpPr>
              <a:spLocks noEditPoints="1"/>
            </p:cNvSpPr>
            <p:nvPr userDrawn="1"/>
          </p:nvSpPr>
          <p:spPr bwMode="auto">
            <a:xfrm>
              <a:off x="9763125" y="4200525"/>
              <a:ext cx="295275" cy="406400"/>
            </a:xfrm>
            <a:custGeom>
              <a:avLst/>
              <a:gdLst>
                <a:gd name="T0" fmla="*/ 175 w 186"/>
                <a:gd name="T1" fmla="*/ 11 h 256"/>
                <a:gd name="T2" fmla="*/ 175 w 186"/>
                <a:gd name="T3" fmla="*/ 32 h 256"/>
                <a:gd name="T4" fmla="*/ 118 w 186"/>
                <a:gd name="T5" fmla="*/ 32 h 256"/>
                <a:gd name="T6" fmla="*/ 107 w 186"/>
                <a:gd name="T7" fmla="*/ 32 h 256"/>
                <a:gd name="T8" fmla="*/ 107 w 186"/>
                <a:gd name="T9" fmla="*/ 44 h 256"/>
                <a:gd name="T10" fmla="*/ 107 w 186"/>
                <a:gd name="T11" fmla="*/ 245 h 256"/>
                <a:gd name="T12" fmla="*/ 80 w 186"/>
                <a:gd name="T13" fmla="*/ 245 h 256"/>
                <a:gd name="T14" fmla="*/ 80 w 186"/>
                <a:gd name="T15" fmla="*/ 44 h 256"/>
                <a:gd name="T16" fmla="*/ 80 w 186"/>
                <a:gd name="T17" fmla="*/ 32 h 256"/>
                <a:gd name="T18" fmla="*/ 68 w 186"/>
                <a:gd name="T19" fmla="*/ 32 h 256"/>
                <a:gd name="T20" fmla="*/ 12 w 186"/>
                <a:gd name="T21" fmla="*/ 32 h 256"/>
                <a:gd name="T22" fmla="*/ 12 w 186"/>
                <a:gd name="T23" fmla="*/ 11 h 256"/>
                <a:gd name="T24" fmla="*/ 175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5" y="11"/>
                  </a:moveTo>
                  <a:lnTo>
                    <a:pt x="175" y="32"/>
                  </a:lnTo>
                  <a:lnTo>
                    <a:pt x="118" y="32"/>
                  </a:lnTo>
                  <a:lnTo>
                    <a:pt x="107" y="32"/>
                  </a:lnTo>
                  <a:lnTo>
                    <a:pt x="107" y="44"/>
                  </a:lnTo>
                  <a:lnTo>
                    <a:pt x="107" y="245"/>
                  </a:lnTo>
                  <a:lnTo>
                    <a:pt x="80" y="245"/>
                  </a:lnTo>
                  <a:lnTo>
                    <a:pt x="80" y="44"/>
                  </a:lnTo>
                  <a:lnTo>
                    <a:pt x="80" y="32"/>
                  </a:lnTo>
                  <a:lnTo>
                    <a:pt x="68" y="32"/>
                  </a:lnTo>
                  <a:lnTo>
                    <a:pt x="12" y="32"/>
                  </a:lnTo>
                  <a:lnTo>
                    <a:pt x="12" y="11"/>
                  </a:lnTo>
                  <a:lnTo>
                    <a:pt x="175"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9407525" y="4198938"/>
              <a:ext cx="338138" cy="407988"/>
            </a:xfrm>
            <a:custGeom>
              <a:avLst/>
              <a:gdLst>
                <a:gd name="T0" fmla="*/ 1027 w 2239"/>
                <a:gd name="T1" fmla="*/ 113 h 2704"/>
                <a:gd name="T2" fmla="*/ 1731 w 2239"/>
                <a:gd name="T3" fmla="*/ 361 h 2704"/>
                <a:gd name="T4" fmla="*/ 1923 w 2239"/>
                <a:gd name="T5" fmla="*/ 849 h 2704"/>
                <a:gd name="T6" fmla="*/ 1923 w 2239"/>
                <a:gd name="T7" fmla="*/ 856 h 2704"/>
                <a:gd name="T8" fmla="*/ 1250 w 2239"/>
                <a:gd name="T9" fmla="*/ 1578 h 2704"/>
                <a:gd name="T10" fmla="*/ 2011 w 2239"/>
                <a:gd name="T11" fmla="*/ 2590 h 2704"/>
                <a:gd name="T12" fmla="*/ 1668 w 2239"/>
                <a:gd name="T13" fmla="*/ 2590 h 2704"/>
                <a:gd name="T14" fmla="*/ 949 w 2239"/>
                <a:gd name="T15" fmla="*/ 1628 h 2704"/>
                <a:gd name="T16" fmla="*/ 393 w 2239"/>
                <a:gd name="T17" fmla="*/ 1628 h 2704"/>
                <a:gd name="T18" fmla="*/ 393 w 2239"/>
                <a:gd name="T19" fmla="*/ 2590 h 2704"/>
                <a:gd name="T20" fmla="*/ 114 w 2239"/>
                <a:gd name="T21" fmla="*/ 2590 h 2704"/>
                <a:gd name="T22" fmla="*/ 114 w 2239"/>
                <a:gd name="T23" fmla="*/ 113 h 2704"/>
                <a:gd name="T24" fmla="*/ 1027 w 2239"/>
                <a:gd name="T25" fmla="*/ 113 h 2704"/>
                <a:gd name="T26" fmla="*/ 393 w 2239"/>
                <a:gd name="T27" fmla="*/ 1377 h 2704"/>
                <a:gd name="T28" fmla="*/ 1003 w 2239"/>
                <a:gd name="T29" fmla="*/ 1377 h 2704"/>
                <a:gd name="T30" fmla="*/ 1639 w 2239"/>
                <a:gd name="T31" fmla="*/ 867 h 2704"/>
                <a:gd name="T32" fmla="*/ 1639 w 2239"/>
                <a:gd name="T33" fmla="*/ 860 h 2704"/>
                <a:gd name="T34" fmla="*/ 1006 w 2239"/>
                <a:gd name="T35" fmla="*/ 372 h 2704"/>
                <a:gd name="T36" fmla="*/ 393 w 2239"/>
                <a:gd name="T37" fmla="*/ 372 h 2704"/>
                <a:gd name="T38" fmla="*/ 393 w 2239"/>
                <a:gd name="T39" fmla="*/ 1377 h 2704"/>
                <a:gd name="T40" fmla="*/ 1027 w 2239"/>
                <a:gd name="T41" fmla="*/ 0 h 2704"/>
                <a:gd name="T42" fmla="*/ 114 w 2239"/>
                <a:gd name="T43" fmla="*/ 0 h 2704"/>
                <a:gd name="T44" fmla="*/ 0 w 2239"/>
                <a:gd name="T45" fmla="*/ 0 h 2704"/>
                <a:gd name="T46" fmla="*/ 0 w 2239"/>
                <a:gd name="T47" fmla="*/ 113 h 2704"/>
                <a:gd name="T48" fmla="*/ 0 w 2239"/>
                <a:gd name="T49" fmla="*/ 2590 h 2704"/>
                <a:gd name="T50" fmla="*/ 0 w 2239"/>
                <a:gd name="T51" fmla="*/ 2704 h 2704"/>
                <a:gd name="T52" fmla="*/ 114 w 2239"/>
                <a:gd name="T53" fmla="*/ 2704 h 2704"/>
                <a:gd name="T54" fmla="*/ 393 w 2239"/>
                <a:gd name="T55" fmla="*/ 2704 h 2704"/>
                <a:gd name="T56" fmla="*/ 507 w 2239"/>
                <a:gd name="T57" fmla="*/ 2704 h 2704"/>
                <a:gd name="T58" fmla="*/ 507 w 2239"/>
                <a:gd name="T59" fmla="*/ 2590 h 2704"/>
                <a:gd name="T60" fmla="*/ 507 w 2239"/>
                <a:gd name="T61" fmla="*/ 1742 h 2704"/>
                <a:gd name="T62" fmla="*/ 892 w 2239"/>
                <a:gd name="T63" fmla="*/ 1742 h 2704"/>
                <a:gd name="T64" fmla="*/ 1577 w 2239"/>
                <a:gd name="T65" fmla="*/ 2658 h 2704"/>
                <a:gd name="T66" fmla="*/ 1611 w 2239"/>
                <a:gd name="T67" fmla="*/ 2704 h 2704"/>
                <a:gd name="T68" fmla="*/ 1668 w 2239"/>
                <a:gd name="T69" fmla="*/ 2704 h 2704"/>
                <a:gd name="T70" fmla="*/ 2011 w 2239"/>
                <a:gd name="T71" fmla="*/ 2704 h 2704"/>
                <a:gd name="T72" fmla="*/ 2239 w 2239"/>
                <a:gd name="T73" fmla="*/ 2704 h 2704"/>
                <a:gd name="T74" fmla="*/ 2102 w 2239"/>
                <a:gd name="T75" fmla="*/ 2522 h 2704"/>
                <a:gd name="T76" fmla="*/ 1443 w 2239"/>
                <a:gd name="T77" fmla="*/ 1646 h 2704"/>
                <a:gd name="T78" fmla="*/ 2036 w 2239"/>
                <a:gd name="T79" fmla="*/ 856 h 2704"/>
                <a:gd name="T80" fmla="*/ 2036 w 2239"/>
                <a:gd name="T81" fmla="*/ 849 h 2704"/>
                <a:gd name="T82" fmla="*/ 1812 w 2239"/>
                <a:gd name="T83" fmla="*/ 281 h 2704"/>
                <a:gd name="T84" fmla="*/ 1027 w 2239"/>
                <a:gd name="T85" fmla="*/ 0 h 2704"/>
                <a:gd name="T86" fmla="*/ 507 w 2239"/>
                <a:gd name="T87" fmla="*/ 485 h 2704"/>
                <a:gd name="T88" fmla="*/ 1006 w 2239"/>
                <a:gd name="T89" fmla="*/ 485 h 2704"/>
                <a:gd name="T90" fmla="*/ 1526 w 2239"/>
                <a:gd name="T91" fmla="*/ 860 h 2704"/>
                <a:gd name="T92" fmla="*/ 1526 w 2239"/>
                <a:gd name="T93" fmla="*/ 867 h 2704"/>
                <a:gd name="T94" fmla="*/ 1003 w 2239"/>
                <a:gd name="T95" fmla="*/ 1263 h 2704"/>
                <a:gd name="T96" fmla="*/ 507 w 2239"/>
                <a:gd name="T97" fmla="*/ 1263 h 2704"/>
                <a:gd name="T98" fmla="*/ 507 w 2239"/>
                <a:gd name="T99" fmla="*/ 485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9" h="2704">
                  <a:moveTo>
                    <a:pt x="1027" y="113"/>
                  </a:moveTo>
                  <a:cubicBezTo>
                    <a:pt x="1332" y="113"/>
                    <a:pt x="1576" y="205"/>
                    <a:pt x="1731" y="361"/>
                  </a:cubicBezTo>
                  <a:cubicBezTo>
                    <a:pt x="1852" y="481"/>
                    <a:pt x="1923" y="655"/>
                    <a:pt x="1923" y="849"/>
                  </a:cubicBezTo>
                  <a:cubicBezTo>
                    <a:pt x="1923" y="856"/>
                    <a:pt x="1923" y="856"/>
                    <a:pt x="1923" y="856"/>
                  </a:cubicBezTo>
                  <a:cubicBezTo>
                    <a:pt x="1923" y="1267"/>
                    <a:pt x="1639" y="1508"/>
                    <a:pt x="1250" y="1578"/>
                  </a:cubicBezTo>
                  <a:cubicBezTo>
                    <a:pt x="2011" y="2590"/>
                    <a:pt x="2011" y="2590"/>
                    <a:pt x="2011" y="2590"/>
                  </a:cubicBezTo>
                  <a:cubicBezTo>
                    <a:pt x="1668" y="2590"/>
                    <a:pt x="1668" y="2590"/>
                    <a:pt x="1668" y="2590"/>
                  </a:cubicBezTo>
                  <a:cubicBezTo>
                    <a:pt x="949" y="1628"/>
                    <a:pt x="949" y="1628"/>
                    <a:pt x="949" y="1628"/>
                  </a:cubicBezTo>
                  <a:cubicBezTo>
                    <a:pt x="393" y="1628"/>
                    <a:pt x="393" y="1628"/>
                    <a:pt x="393" y="1628"/>
                  </a:cubicBezTo>
                  <a:cubicBezTo>
                    <a:pt x="393" y="2590"/>
                    <a:pt x="393" y="2590"/>
                    <a:pt x="393" y="2590"/>
                  </a:cubicBezTo>
                  <a:cubicBezTo>
                    <a:pt x="114" y="2590"/>
                    <a:pt x="114" y="2590"/>
                    <a:pt x="114" y="2590"/>
                  </a:cubicBezTo>
                  <a:cubicBezTo>
                    <a:pt x="114" y="113"/>
                    <a:pt x="114" y="113"/>
                    <a:pt x="114" y="113"/>
                  </a:cubicBezTo>
                  <a:cubicBezTo>
                    <a:pt x="1027" y="113"/>
                    <a:pt x="1027" y="113"/>
                    <a:pt x="1027" y="113"/>
                  </a:cubicBezTo>
                  <a:moveTo>
                    <a:pt x="393" y="1377"/>
                  </a:moveTo>
                  <a:cubicBezTo>
                    <a:pt x="1003" y="1377"/>
                    <a:pt x="1003" y="1377"/>
                    <a:pt x="1003" y="1377"/>
                  </a:cubicBezTo>
                  <a:cubicBezTo>
                    <a:pt x="1374" y="1377"/>
                    <a:pt x="1639" y="1186"/>
                    <a:pt x="1639" y="867"/>
                  </a:cubicBezTo>
                  <a:cubicBezTo>
                    <a:pt x="1639" y="860"/>
                    <a:pt x="1639" y="860"/>
                    <a:pt x="1639" y="860"/>
                  </a:cubicBezTo>
                  <a:cubicBezTo>
                    <a:pt x="1639" y="556"/>
                    <a:pt x="1406" y="372"/>
                    <a:pt x="1006" y="372"/>
                  </a:cubicBezTo>
                  <a:cubicBezTo>
                    <a:pt x="393" y="372"/>
                    <a:pt x="393" y="372"/>
                    <a:pt x="393" y="372"/>
                  </a:cubicBezTo>
                  <a:cubicBezTo>
                    <a:pt x="393" y="1377"/>
                    <a:pt x="393" y="1377"/>
                    <a:pt x="393" y="1377"/>
                  </a:cubicBezTo>
                  <a:moveTo>
                    <a:pt x="1027" y="0"/>
                  </a:moveTo>
                  <a:cubicBezTo>
                    <a:pt x="114" y="0"/>
                    <a:pt x="114" y="0"/>
                    <a:pt x="114" y="0"/>
                  </a:cubicBezTo>
                  <a:cubicBezTo>
                    <a:pt x="0" y="0"/>
                    <a:pt x="0" y="0"/>
                    <a:pt x="0" y="0"/>
                  </a:cubicBezTo>
                  <a:cubicBezTo>
                    <a:pt x="0" y="113"/>
                    <a:pt x="0" y="113"/>
                    <a:pt x="0" y="113"/>
                  </a:cubicBezTo>
                  <a:cubicBezTo>
                    <a:pt x="0" y="2590"/>
                    <a:pt x="0" y="2590"/>
                    <a:pt x="0" y="2590"/>
                  </a:cubicBezTo>
                  <a:cubicBezTo>
                    <a:pt x="0" y="2704"/>
                    <a:pt x="0" y="2704"/>
                    <a:pt x="0" y="2704"/>
                  </a:cubicBezTo>
                  <a:cubicBezTo>
                    <a:pt x="114" y="2704"/>
                    <a:pt x="114" y="2704"/>
                    <a:pt x="114" y="2704"/>
                  </a:cubicBezTo>
                  <a:cubicBezTo>
                    <a:pt x="393" y="2704"/>
                    <a:pt x="393" y="2704"/>
                    <a:pt x="393" y="2704"/>
                  </a:cubicBezTo>
                  <a:cubicBezTo>
                    <a:pt x="507" y="2704"/>
                    <a:pt x="507" y="2704"/>
                    <a:pt x="507" y="2704"/>
                  </a:cubicBezTo>
                  <a:cubicBezTo>
                    <a:pt x="507" y="2590"/>
                    <a:pt x="507" y="2590"/>
                    <a:pt x="507" y="2590"/>
                  </a:cubicBezTo>
                  <a:cubicBezTo>
                    <a:pt x="507" y="1742"/>
                    <a:pt x="507" y="1742"/>
                    <a:pt x="507" y="1742"/>
                  </a:cubicBezTo>
                  <a:cubicBezTo>
                    <a:pt x="892" y="1742"/>
                    <a:pt x="892" y="1742"/>
                    <a:pt x="892" y="1742"/>
                  </a:cubicBezTo>
                  <a:cubicBezTo>
                    <a:pt x="1577" y="2658"/>
                    <a:pt x="1577" y="2658"/>
                    <a:pt x="1577" y="2658"/>
                  </a:cubicBezTo>
                  <a:cubicBezTo>
                    <a:pt x="1611" y="2704"/>
                    <a:pt x="1611" y="2704"/>
                    <a:pt x="1611" y="2704"/>
                  </a:cubicBezTo>
                  <a:cubicBezTo>
                    <a:pt x="1668" y="2704"/>
                    <a:pt x="1668" y="2704"/>
                    <a:pt x="1668" y="2704"/>
                  </a:cubicBezTo>
                  <a:cubicBezTo>
                    <a:pt x="2011" y="2704"/>
                    <a:pt x="2011" y="2704"/>
                    <a:pt x="2011" y="2704"/>
                  </a:cubicBezTo>
                  <a:cubicBezTo>
                    <a:pt x="2239" y="2704"/>
                    <a:pt x="2239" y="2704"/>
                    <a:pt x="2239" y="2704"/>
                  </a:cubicBezTo>
                  <a:cubicBezTo>
                    <a:pt x="2102" y="2522"/>
                    <a:pt x="2102" y="2522"/>
                    <a:pt x="2102" y="2522"/>
                  </a:cubicBezTo>
                  <a:cubicBezTo>
                    <a:pt x="1443" y="1646"/>
                    <a:pt x="1443" y="1646"/>
                    <a:pt x="1443" y="1646"/>
                  </a:cubicBezTo>
                  <a:cubicBezTo>
                    <a:pt x="1818" y="1522"/>
                    <a:pt x="2036" y="1236"/>
                    <a:pt x="2036" y="856"/>
                  </a:cubicBezTo>
                  <a:cubicBezTo>
                    <a:pt x="2036" y="849"/>
                    <a:pt x="2036" y="849"/>
                    <a:pt x="2036" y="849"/>
                  </a:cubicBezTo>
                  <a:cubicBezTo>
                    <a:pt x="2036" y="627"/>
                    <a:pt x="1956" y="426"/>
                    <a:pt x="1812" y="281"/>
                  </a:cubicBezTo>
                  <a:cubicBezTo>
                    <a:pt x="1631" y="100"/>
                    <a:pt x="1352" y="0"/>
                    <a:pt x="1027" y="0"/>
                  </a:cubicBezTo>
                  <a:moveTo>
                    <a:pt x="507" y="485"/>
                  </a:moveTo>
                  <a:cubicBezTo>
                    <a:pt x="1006" y="485"/>
                    <a:pt x="1006" y="485"/>
                    <a:pt x="1006" y="485"/>
                  </a:cubicBezTo>
                  <a:cubicBezTo>
                    <a:pt x="1458" y="485"/>
                    <a:pt x="1526" y="720"/>
                    <a:pt x="1526" y="860"/>
                  </a:cubicBezTo>
                  <a:cubicBezTo>
                    <a:pt x="1526" y="867"/>
                    <a:pt x="1526" y="867"/>
                    <a:pt x="1526" y="867"/>
                  </a:cubicBezTo>
                  <a:cubicBezTo>
                    <a:pt x="1526" y="1059"/>
                    <a:pt x="1388" y="1263"/>
                    <a:pt x="1003" y="1263"/>
                  </a:cubicBezTo>
                  <a:cubicBezTo>
                    <a:pt x="507" y="1263"/>
                    <a:pt x="507" y="1263"/>
                    <a:pt x="507" y="1263"/>
                  </a:cubicBezTo>
                  <a:lnTo>
                    <a:pt x="507" y="4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noEditPoints="1"/>
            </p:cNvSpPr>
            <p:nvPr userDrawn="1"/>
          </p:nvSpPr>
          <p:spPr bwMode="auto">
            <a:xfrm>
              <a:off x="6905625" y="4194175"/>
              <a:ext cx="450850" cy="419100"/>
            </a:xfrm>
            <a:custGeom>
              <a:avLst/>
              <a:gdLst>
                <a:gd name="T0" fmla="*/ 2979 w 2979"/>
                <a:gd name="T1" fmla="*/ 1386 h 2771"/>
                <a:gd name="T2" fmla="*/ 1619 w 2979"/>
                <a:gd name="T3" fmla="*/ 2 h 2771"/>
                <a:gd name="T4" fmla="*/ 1562 w 2979"/>
                <a:gd name="T5" fmla="*/ 2 h 2771"/>
                <a:gd name="T6" fmla="*/ 1279 w 2979"/>
                <a:gd name="T7" fmla="*/ 6 h 2771"/>
                <a:gd name="T8" fmla="*/ 0 w 2979"/>
                <a:gd name="T9" fmla="*/ 1386 h 2771"/>
                <a:gd name="T10" fmla="*/ 1375 w 2979"/>
                <a:gd name="T11" fmla="*/ 2770 h 2771"/>
                <a:gd name="T12" fmla="*/ 1429 w 2979"/>
                <a:gd name="T13" fmla="*/ 2770 h 2771"/>
                <a:gd name="T14" fmla="*/ 1516 w 2979"/>
                <a:gd name="T15" fmla="*/ 2771 h 2771"/>
                <a:gd name="T16" fmla="*/ 1639 w 2979"/>
                <a:gd name="T17" fmla="*/ 2766 h 2771"/>
                <a:gd name="T18" fmla="*/ 2979 w 2979"/>
                <a:gd name="T19" fmla="*/ 1386 h 2771"/>
                <a:gd name="T20" fmla="*/ 106 w 2979"/>
                <a:gd name="T21" fmla="*/ 1386 h 2771"/>
                <a:gd name="T22" fmla="*/ 1343 w 2979"/>
                <a:gd name="T23" fmla="*/ 111 h 2771"/>
                <a:gd name="T24" fmla="*/ 2506 w 2979"/>
                <a:gd name="T25" fmla="*/ 1386 h 2771"/>
                <a:gd name="T26" fmla="*/ 2504 w 2979"/>
                <a:gd name="T27" fmla="*/ 1386 h 2771"/>
                <a:gd name="T28" fmla="*/ 1768 w 2979"/>
                <a:gd name="T29" fmla="*/ 2300 h 2771"/>
                <a:gd name="T30" fmla="*/ 2244 w 2979"/>
                <a:gd name="T31" fmla="*/ 1362 h 2771"/>
                <a:gd name="T32" fmla="*/ 1981 w 2979"/>
                <a:gd name="T33" fmla="*/ 609 h 2771"/>
                <a:gd name="T34" fmla="*/ 1343 w 2979"/>
                <a:gd name="T35" fmla="*/ 355 h 2771"/>
                <a:gd name="T36" fmla="*/ 579 w 2979"/>
                <a:gd name="T37" fmla="*/ 724 h 2771"/>
                <a:gd name="T38" fmla="*/ 341 w 2979"/>
                <a:gd name="T39" fmla="*/ 1388 h 2771"/>
                <a:gd name="T40" fmla="*/ 1011 w 2979"/>
                <a:gd name="T41" fmla="*/ 2612 h 2771"/>
                <a:gd name="T42" fmla="*/ 106 w 2979"/>
                <a:gd name="T43" fmla="*/ 1386 h 2771"/>
                <a:gd name="T44" fmla="*/ 1453 w 2979"/>
                <a:gd name="T45" fmla="*/ 468 h 2771"/>
                <a:gd name="T46" fmla="*/ 1904 w 2979"/>
                <a:gd name="T47" fmla="*/ 683 h 2771"/>
                <a:gd name="T48" fmla="*/ 2138 w 2979"/>
                <a:gd name="T49" fmla="*/ 1359 h 2771"/>
                <a:gd name="T50" fmla="*/ 1500 w 2979"/>
                <a:gd name="T51" fmla="*/ 2299 h 2771"/>
                <a:gd name="T52" fmla="*/ 817 w 2979"/>
                <a:gd name="T53" fmla="*/ 1386 h 2771"/>
                <a:gd name="T54" fmla="*/ 1453 w 2979"/>
                <a:gd name="T55" fmla="*/ 468 h 2771"/>
                <a:gd name="T56" fmla="*/ 1636 w 2979"/>
                <a:gd name="T57" fmla="*/ 2660 h 2771"/>
                <a:gd name="T58" fmla="*/ 448 w 2979"/>
                <a:gd name="T59" fmla="*/ 1388 h 2771"/>
                <a:gd name="T60" fmla="*/ 662 w 2979"/>
                <a:gd name="T61" fmla="*/ 790 h 2771"/>
                <a:gd name="T62" fmla="*/ 1138 w 2979"/>
                <a:gd name="T63" fmla="*/ 484 h 2771"/>
                <a:gd name="T64" fmla="*/ 710 w 2979"/>
                <a:gd name="T65" fmla="*/ 1386 h 2771"/>
                <a:gd name="T66" fmla="*/ 1636 w 2979"/>
                <a:gd name="T67" fmla="*/ 2416 h 2771"/>
                <a:gd name="T68" fmla="*/ 2611 w 2979"/>
                <a:gd name="T69" fmla="*/ 1386 h 2771"/>
                <a:gd name="T70" fmla="*/ 2613 w 2979"/>
                <a:gd name="T71" fmla="*/ 1386 h 2771"/>
                <a:gd name="T72" fmla="*/ 1933 w 2979"/>
                <a:gd name="T73" fmla="*/ 147 h 2771"/>
                <a:gd name="T74" fmla="*/ 2873 w 2979"/>
                <a:gd name="T75" fmla="*/ 1386 h 2771"/>
                <a:gd name="T76" fmla="*/ 1636 w 2979"/>
                <a:gd name="T77" fmla="*/ 2660 h 2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79" h="2771">
                  <a:moveTo>
                    <a:pt x="2979" y="1386"/>
                  </a:moveTo>
                  <a:cubicBezTo>
                    <a:pt x="2979" y="610"/>
                    <a:pt x="2382" y="2"/>
                    <a:pt x="1619" y="2"/>
                  </a:cubicBezTo>
                  <a:cubicBezTo>
                    <a:pt x="1606" y="3"/>
                    <a:pt x="1586" y="2"/>
                    <a:pt x="1562" y="2"/>
                  </a:cubicBezTo>
                  <a:cubicBezTo>
                    <a:pt x="1446" y="1"/>
                    <a:pt x="1328" y="0"/>
                    <a:pt x="1279" y="6"/>
                  </a:cubicBezTo>
                  <a:cubicBezTo>
                    <a:pt x="545" y="38"/>
                    <a:pt x="0" y="620"/>
                    <a:pt x="0" y="1386"/>
                  </a:cubicBezTo>
                  <a:cubicBezTo>
                    <a:pt x="0" y="2162"/>
                    <a:pt x="604" y="2770"/>
                    <a:pt x="1375" y="2770"/>
                  </a:cubicBezTo>
                  <a:cubicBezTo>
                    <a:pt x="1390" y="2770"/>
                    <a:pt x="1408" y="2770"/>
                    <a:pt x="1429" y="2770"/>
                  </a:cubicBezTo>
                  <a:cubicBezTo>
                    <a:pt x="1456" y="2771"/>
                    <a:pt x="1486" y="2771"/>
                    <a:pt x="1516" y="2771"/>
                  </a:cubicBezTo>
                  <a:cubicBezTo>
                    <a:pt x="1563" y="2771"/>
                    <a:pt x="1608" y="2770"/>
                    <a:pt x="1639" y="2766"/>
                  </a:cubicBezTo>
                  <a:cubicBezTo>
                    <a:pt x="2403" y="2765"/>
                    <a:pt x="2979" y="2172"/>
                    <a:pt x="2979" y="1386"/>
                  </a:cubicBezTo>
                  <a:moveTo>
                    <a:pt x="106" y="1386"/>
                  </a:moveTo>
                  <a:cubicBezTo>
                    <a:pt x="106" y="659"/>
                    <a:pt x="638" y="111"/>
                    <a:pt x="1343" y="111"/>
                  </a:cubicBezTo>
                  <a:cubicBezTo>
                    <a:pt x="2028" y="111"/>
                    <a:pt x="2506" y="635"/>
                    <a:pt x="2506" y="1386"/>
                  </a:cubicBezTo>
                  <a:cubicBezTo>
                    <a:pt x="2504" y="1386"/>
                    <a:pt x="2504" y="1386"/>
                    <a:pt x="2504" y="1386"/>
                  </a:cubicBezTo>
                  <a:cubicBezTo>
                    <a:pt x="2504" y="1864"/>
                    <a:pt x="2196" y="2236"/>
                    <a:pt x="1768" y="2300"/>
                  </a:cubicBezTo>
                  <a:cubicBezTo>
                    <a:pt x="2022" y="2137"/>
                    <a:pt x="2232" y="1810"/>
                    <a:pt x="2244" y="1362"/>
                  </a:cubicBezTo>
                  <a:cubicBezTo>
                    <a:pt x="2252" y="1059"/>
                    <a:pt x="2158" y="791"/>
                    <a:pt x="1981" y="609"/>
                  </a:cubicBezTo>
                  <a:cubicBezTo>
                    <a:pt x="1819" y="443"/>
                    <a:pt x="1598" y="355"/>
                    <a:pt x="1343" y="355"/>
                  </a:cubicBezTo>
                  <a:cubicBezTo>
                    <a:pt x="1034" y="355"/>
                    <a:pt x="769" y="483"/>
                    <a:pt x="579" y="724"/>
                  </a:cubicBezTo>
                  <a:cubicBezTo>
                    <a:pt x="432" y="909"/>
                    <a:pt x="341" y="1164"/>
                    <a:pt x="341" y="1388"/>
                  </a:cubicBezTo>
                  <a:cubicBezTo>
                    <a:pt x="341" y="1941"/>
                    <a:pt x="602" y="2388"/>
                    <a:pt x="1011" y="2612"/>
                  </a:cubicBezTo>
                  <a:cubicBezTo>
                    <a:pt x="482" y="2458"/>
                    <a:pt x="106" y="1974"/>
                    <a:pt x="106" y="1386"/>
                  </a:cubicBezTo>
                  <a:moveTo>
                    <a:pt x="1453" y="468"/>
                  </a:moveTo>
                  <a:cubicBezTo>
                    <a:pt x="1632" y="489"/>
                    <a:pt x="1787" y="562"/>
                    <a:pt x="1904" y="683"/>
                  </a:cubicBezTo>
                  <a:cubicBezTo>
                    <a:pt x="2062" y="845"/>
                    <a:pt x="2145" y="1085"/>
                    <a:pt x="2138" y="1359"/>
                  </a:cubicBezTo>
                  <a:cubicBezTo>
                    <a:pt x="2127" y="1754"/>
                    <a:pt x="1901" y="2215"/>
                    <a:pt x="1500" y="2299"/>
                  </a:cubicBezTo>
                  <a:cubicBezTo>
                    <a:pt x="1091" y="2234"/>
                    <a:pt x="817" y="1877"/>
                    <a:pt x="817" y="1386"/>
                  </a:cubicBezTo>
                  <a:cubicBezTo>
                    <a:pt x="817" y="907"/>
                    <a:pt x="1066" y="548"/>
                    <a:pt x="1453" y="468"/>
                  </a:cubicBezTo>
                  <a:moveTo>
                    <a:pt x="1636" y="2660"/>
                  </a:moveTo>
                  <a:cubicBezTo>
                    <a:pt x="947" y="2660"/>
                    <a:pt x="448" y="2125"/>
                    <a:pt x="448" y="1388"/>
                  </a:cubicBezTo>
                  <a:cubicBezTo>
                    <a:pt x="448" y="1186"/>
                    <a:pt x="530" y="957"/>
                    <a:pt x="662" y="790"/>
                  </a:cubicBezTo>
                  <a:cubicBezTo>
                    <a:pt x="788" y="631"/>
                    <a:pt x="950" y="527"/>
                    <a:pt x="1138" y="484"/>
                  </a:cubicBezTo>
                  <a:cubicBezTo>
                    <a:pt x="871" y="659"/>
                    <a:pt x="710" y="985"/>
                    <a:pt x="710" y="1386"/>
                  </a:cubicBezTo>
                  <a:cubicBezTo>
                    <a:pt x="710" y="1992"/>
                    <a:pt x="1091" y="2416"/>
                    <a:pt x="1636" y="2416"/>
                  </a:cubicBezTo>
                  <a:cubicBezTo>
                    <a:pt x="2191" y="2416"/>
                    <a:pt x="2611" y="1973"/>
                    <a:pt x="2611" y="1386"/>
                  </a:cubicBezTo>
                  <a:cubicBezTo>
                    <a:pt x="2613" y="1386"/>
                    <a:pt x="2613" y="1386"/>
                    <a:pt x="2613" y="1386"/>
                  </a:cubicBezTo>
                  <a:cubicBezTo>
                    <a:pt x="2613" y="821"/>
                    <a:pt x="2347" y="367"/>
                    <a:pt x="1933" y="147"/>
                  </a:cubicBezTo>
                  <a:cubicBezTo>
                    <a:pt x="2479" y="286"/>
                    <a:pt x="2873" y="780"/>
                    <a:pt x="2873" y="1386"/>
                  </a:cubicBezTo>
                  <a:cubicBezTo>
                    <a:pt x="2873" y="2112"/>
                    <a:pt x="2341" y="2660"/>
                    <a:pt x="1636" y="26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Title 3"/>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5" name="Date Placeholder 4"/>
          <p:cNvSpPr>
            <a:spLocks noGrp="1"/>
          </p:cNvSpPr>
          <p:nvPr>
            <p:ph type="dt" sz="half" idx="14"/>
          </p:nvPr>
        </p:nvSpPr>
        <p:spPr/>
        <p:txBody>
          <a:bodyPr/>
          <a:lstStyle>
            <a:lvl1pPr>
              <a:defRPr>
                <a:solidFill>
                  <a:schemeClr val="bg1"/>
                </a:solidFill>
              </a:defRPr>
            </a:lvl1pPr>
          </a:lstStyle>
          <a:p>
            <a:pPr algn="ctr"/>
            <a:r>
              <a:rPr lang="en-US"/>
              <a:t>Date</a:t>
            </a:r>
            <a:endParaRPr lang="en-GB" dirty="0"/>
          </a:p>
        </p:txBody>
      </p:sp>
      <p:sp>
        <p:nvSpPr>
          <p:cNvPr id="6" name="Footer Placeholder 5"/>
          <p:cNvSpPr>
            <a:spLocks noGrp="1"/>
          </p:cNvSpPr>
          <p:nvPr>
            <p:ph type="ftr" sz="quarter" idx="15"/>
          </p:nvPr>
        </p:nvSpPr>
        <p:spPr/>
        <p:txBody>
          <a:bodyPr/>
          <a:lstStyle>
            <a:lvl1pPr>
              <a:defRPr>
                <a:solidFill>
                  <a:schemeClr val="bg1"/>
                </a:solidFill>
              </a:defRPr>
            </a:lvl1pPr>
          </a:lstStyle>
          <a:p>
            <a:r>
              <a:rPr lang="en-GB"/>
              <a:t>Document Title</a:t>
            </a:r>
            <a:endParaRPr lang="en-GB" dirty="0"/>
          </a:p>
        </p:txBody>
      </p:sp>
      <p:sp>
        <p:nvSpPr>
          <p:cNvPr id="20" name="Slide Number Placeholder 19"/>
          <p:cNvSpPr>
            <a:spLocks noGrp="1"/>
          </p:cNvSpPr>
          <p:nvPr>
            <p:ph type="sldNum" sz="quarter" idx="16"/>
          </p:nvPr>
        </p:nvSpPr>
        <p:spPr/>
        <p:txBody>
          <a:bodyPr/>
          <a:lstStyle>
            <a:lvl1pPr>
              <a:defRPr>
                <a:solidFill>
                  <a:schemeClr val="bg1"/>
                </a:solidFill>
              </a:defRPr>
            </a:lvl1pPr>
          </a:lstStyle>
          <a:p>
            <a:fld id="{DB75849A-DCBB-42F1-AFA6-094BC757D811}" type="slidenum">
              <a:rPr lang="en-GB" smtClean="0"/>
              <a:pPr/>
              <a:t>‹#›</a:t>
            </a:fld>
            <a:endParaRPr lang="en-GB" dirty="0"/>
          </a:p>
        </p:txBody>
      </p:sp>
    </p:spTree>
    <p:extLst>
      <p:ext uri="{BB962C8B-B14F-4D97-AF65-F5344CB8AC3E}">
        <p14:creationId xmlns:p14="http://schemas.microsoft.com/office/powerpoint/2010/main" val="5993895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Date Placeholder 4"/>
          <p:cNvSpPr>
            <a:spLocks noGrp="1"/>
          </p:cNvSpPr>
          <p:nvPr>
            <p:ph type="dt" sz="half" idx="10"/>
          </p:nvPr>
        </p:nvSpPr>
        <p:spPr/>
        <p:txBody>
          <a:bodyPr/>
          <a:lstStyle/>
          <a:p>
            <a:r>
              <a:rPr lang="en-US"/>
              <a:t>Date</a:t>
            </a:r>
            <a:endParaRPr lang="en-GB"/>
          </a:p>
        </p:txBody>
      </p:sp>
      <p:sp>
        <p:nvSpPr>
          <p:cNvPr id="6" name="Footer Placeholder 5"/>
          <p:cNvSpPr>
            <a:spLocks noGrp="1"/>
          </p:cNvSpPr>
          <p:nvPr>
            <p:ph type="ftr" sz="quarter" idx="11"/>
          </p:nvPr>
        </p:nvSpPr>
        <p:spPr/>
        <p:txBody>
          <a:bodyPr/>
          <a:lstStyle/>
          <a:p>
            <a:r>
              <a:rPr lang="en-GB"/>
              <a:t>Document Title</a:t>
            </a:r>
          </a:p>
        </p:txBody>
      </p:sp>
      <p:sp>
        <p:nvSpPr>
          <p:cNvPr id="7" name="Slide Number Placeholder 6"/>
          <p:cNvSpPr>
            <a:spLocks noGrp="1"/>
          </p:cNvSpPr>
          <p:nvPr>
            <p:ph type="sldNum" sz="quarter" idx="12"/>
          </p:nvPr>
        </p:nvSpPr>
        <p:spPr/>
        <p:txBody>
          <a:bodyPr/>
          <a:lstStyle/>
          <a:p>
            <a:fld id="{DB75849A-DCBB-42F1-AFA6-094BC757D811}" type="slidenum">
              <a:rPr lang="en-GB" smtClean="0"/>
              <a:t>‹#›</a:t>
            </a:fld>
            <a:endParaRPr lang="en-GB"/>
          </a:p>
        </p:txBody>
      </p:sp>
      <p:sp>
        <p:nvSpPr>
          <p:cNvPr id="8" name="Content Placeholder 2"/>
          <p:cNvSpPr>
            <a:spLocks noGrp="1"/>
          </p:cNvSpPr>
          <p:nvPr>
            <p:ph idx="1"/>
          </p:nvPr>
        </p:nvSpPr>
        <p:spPr>
          <a:xfrm>
            <a:off x="438151" y="4425696"/>
            <a:ext cx="11328399" cy="1159129"/>
          </a:xfrm>
        </p:spPr>
        <p:txBody>
          <a:bodyPr numCol="3" spcCol="360000"/>
          <a:lstStyle>
            <a:lvl1pPr marL="0" indent="0">
              <a:spcBef>
                <a:spcPts val="1500"/>
              </a:spcBef>
              <a:buFont typeface="Arial" panose="020B0604020202020204" pitchFamily="34" charset="0"/>
              <a:buNone/>
              <a:defRPr/>
            </a:lvl1pPr>
            <a:lvl2pPr marL="0" indent="0">
              <a:spcBef>
                <a:spcPts val="1500"/>
              </a:spcBef>
              <a:buFont typeface="Arial" panose="020B0604020202020204" pitchFamily="34" charset="0"/>
              <a:buNone/>
              <a:defRPr/>
            </a:lvl2pPr>
            <a:lvl3pPr marL="180975" indent="-180975">
              <a:defRPr/>
            </a:lvl3pPr>
            <a:lvl4pPr marL="357188" indent="-177800">
              <a:defRPr/>
            </a:lvl4pPr>
            <a:lvl5pPr marL="533400" indent="-17145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Picture Placeholder 12"/>
          <p:cNvSpPr>
            <a:spLocks noGrp="1"/>
          </p:cNvSpPr>
          <p:nvPr>
            <p:ph type="pic" sz="quarter" idx="13"/>
          </p:nvPr>
        </p:nvSpPr>
        <p:spPr>
          <a:xfrm>
            <a:off x="438150" y="1536700"/>
            <a:ext cx="3650456" cy="2520000"/>
          </a:xfrm>
        </p:spPr>
        <p:txBody>
          <a:bodyPr/>
          <a:lstStyle/>
          <a:p>
            <a:endParaRPr lang="en-GB"/>
          </a:p>
        </p:txBody>
      </p:sp>
      <p:sp>
        <p:nvSpPr>
          <p:cNvPr id="14" name="Picture Placeholder 12"/>
          <p:cNvSpPr>
            <a:spLocks noGrp="1"/>
          </p:cNvSpPr>
          <p:nvPr>
            <p:ph type="pic" sz="quarter" idx="14"/>
          </p:nvPr>
        </p:nvSpPr>
        <p:spPr>
          <a:xfrm>
            <a:off x="4269955" y="1536700"/>
            <a:ext cx="7496595" cy="2520000"/>
          </a:xfrm>
        </p:spPr>
        <p:txBody>
          <a:bodyPr/>
          <a:lstStyle/>
          <a:p>
            <a:endParaRPr lang="en-GB"/>
          </a:p>
        </p:txBody>
      </p:sp>
    </p:spTree>
    <p:extLst>
      <p:ext uri="{BB962C8B-B14F-4D97-AF65-F5344CB8AC3E}">
        <p14:creationId xmlns:p14="http://schemas.microsoft.com/office/powerpoint/2010/main" val="878773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7" y="820"/>
            <a:ext cx="12190540" cy="6857179"/>
          </a:xfrm>
          <a:prstGeom prst="rect">
            <a:avLst/>
          </a:prstGeom>
        </p:spPr>
      </p:pic>
      <p:sp>
        <p:nvSpPr>
          <p:cNvPr id="2" name="Title 1"/>
          <p:cNvSpPr>
            <a:spLocks noGrp="1"/>
          </p:cNvSpPr>
          <p:nvPr>
            <p:ph type="ctrTitle" hasCustomPrompt="1"/>
          </p:nvPr>
        </p:nvSpPr>
        <p:spPr>
          <a:xfrm>
            <a:off x="430690" y="463552"/>
            <a:ext cx="5666898" cy="1298574"/>
          </a:xfrm>
        </p:spPr>
        <p:txBody>
          <a:bodyPr anchor="b" anchorCtr="0">
            <a:normAutofit/>
          </a:bodyPr>
          <a:lstStyle>
            <a:lvl1pPr>
              <a:lnSpc>
                <a:spcPct val="90000"/>
              </a:lnSpc>
              <a:defRPr sz="1800">
                <a:solidFill>
                  <a:schemeClr val="bg1"/>
                </a:solidFill>
              </a:defRPr>
            </a:lvl1pPr>
          </a:lstStyle>
          <a:p>
            <a:r>
              <a:rPr lang="en-US" dirty="0"/>
              <a:t>Master title style</a:t>
            </a:r>
            <a:endParaRPr lang="en-GB" dirty="0"/>
          </a:p>
        </p:txBody>
      </p:sp>
      <p:sp>
        <p:nvSpPr>
          <p:cNvPr id="3" name="Subtitle 2"/>
          <p:cNvSpPr>
            <a:spLocks noGrp="1"/>
          </p:cNvSpPr>
          <p:nvPr>
            <p:ph type="subTitle" idx="1" hasCustomPrompt="1"/>
          </p:nvPr>
        </p:nvSpPr>
        <p:spPr>
          <a:xfrm>
            <a:off x="430690" y="1828801"/>
            <a:ext cx="5667628" cy="1152524"/>
          </a:xfrm>
        </p:spPr>
        <p:txBody>
          <a:bodyPr>
            <a:normAutofit/>
          </a:bodyPr>
          <a:lstStyle>
            <a:lvl1pPr marL="0" indent="0" algn="l">
              <a:lnSpc>
                <a:spcPct val="90000"/>
              </a:lnSpc>
              <a:spcBef>
                <a:spcPts val="600"/>
              </a:spcBef>
              <a:buNone/>
              <a:defRPr sz="18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Master subtitle style</a:t>
            </a:r>
            <a:endParaRPr lang="en-GB" dirty="0"/>
          </a:p>
        </p:txBody>
      </p:sp>
      <p:grpSp>
        <p:nvGrpSpPr>
          <p:cNvPr id="8" name="Group 7"/>
          <p:cNvGrpSpPr>
            <a:grpSpLocks noChangeAspect="1"/>
          </p:cNvGrpSpPr>
          <p:nvPr userDrawn="1"/>
        </p:nvGrpSpPr>
        <p:grpSpPr>
          <a:xfrm>
            <a:off x="438149" y="6230422"/>
            <a:ext cx="1476000" cy="196205"/>
            <a:chOff x="6905625" y="4194175"/>
            <a:chExt cx="3152775" cy="419100"/>
          </a:xfrm>
          <a:solidFill>
            <a:schemeClr val="bg1"/>
          </a:solidFill>
        </p:grpSpPr>
        <p:sp>
          <p:nvSpPr>
            <p:cNvPr id="9" name="Freeform 6"/>
            <p:cNvSpPr>
              <a:spLocks noEditPoints="1"/>
            </p:cNvSpPr>
            <p:nvPr userDrawn="1"/>
          </p:nvSpPr>
          <p:spPr bwMode="auto">
            <a:xfrm>
              <a:off x="7824788" y="4200525"/>
              <a:ext cx="295275" cy="406400"/>
            </a:xfrm>
            <a:custGeom>
              <a:avLst/>
              <a:gdLst>
                <a:gd name="T0" fmla="*/ 174 w 186"/>
                <a:gd name="T1" fmla="*/ 11 h 256"/>
                <a:gd name="T2" fmla="*/ 174 w 186"/>
                <a:gd name="T3" fmla="*/ 32 h 256"/>
                <a:gd name="T4" fmla="*/ 118 w 186"/>
                <a:gd name="T5" fmla="*/ 32 h 256"/>
                <a:gd name="T6" fmla="*/ 106 w 186"/>
                <a:gd name="T7" fmla="*/ 32 h 256"/>
                <a:gd name="T8" fmla="*/ 106 w 186"/>
                <a:gd name="T9" fmla="*/ 44 h 256"/>
                <a:gd name="T10" fmla="*/ 106 w 186"/>
                <a:gd name="T11" fmla="*/ 245 h 256"/>
                <a:gd name="T12" fmla="*/ 79 w 186"/>
                <a:gd name="T13" fmla="*/ 245 h 256"/>
                <a:gd name="T14" fmla="*/ 79 w 186"/>
                <a:gd name="T15" fmla="*/ 44 h 256"/>
                <a:gd name="T16" fmla="*/ 79 w 186"/>
                <a:gd name="T17" fmla="*/ 32 h 256"/>
                <a:gd name="T18" fmla="*/ 68 w 186"/>
                <a:gd name="T19" fmla="*/ 32 h 256"/>
                <a:gd name="T20" fmla="*/ 11 w 186"/>
                <a:gd name="T21" fmla="*/ 32 h 256"/>
                <a:gd name="T22" fmla="*/ 11 w 186"/>
                <a:gd name="T23" fmla="*/ 11 h 256"/>
                <a:gd name="T24" fmla="*/ 174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4" y="11"/>
                  </a:moveTo>
                  <a:lnTo>
                    <a:pt x="174" y="32"/>
                  </a:lnTo>
                  <a:lnTo>
                    <a:pt x="118" y="32"/>
                  </a:lnTo>
                  <a:lnTo>
                    <a:pt x="106" y="32"/>
                  </a:lnTo>
                  <a:lnTo>
                    <a:pt x="106" y="44"/>
                  </a:lnTo>
                  <a:lnTo>
                    <a:pt x="106" y="245"/>
                  </a:lnTo>
                  <a:lnTo>
                    <a:pt x="79" y="245"/>
                  </a:lnTo>
                  <a:lnTo>
                    <a:pt x="79" y="44"/>
                  </a:lnTo>
                  <a:lnTo>
                    <a:pt x="79" y="32"/>
                  </a:lnTo>
                  <a:lnTo>
                    <a:pt x="68" y="32"/>
                  </a:lnTo>
                  <a:lnTo>
                    <a:pt x="11" y="32"/>
                  </a:lnTo>
                  <a:lnTo>
                    <a:pt x="11" y="11"/>
                  </a:lnTo>
                  <a:lnTo>
                    <a:pt x="174"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9"/>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close/>
                  <a:moveTo>
                    <a:pt x="78" y="167"/>
                  </a:moveTo>
                  <a:lnTo>
                    <a:pt x="95" y="167"/>
                  </a:lnTo>
                  <a:lnTo>
                    <a:pt x="160" y="167"/>
                  </a:lnTo>
                  <a:lnTo>
                    <a:pt x="177" y="167"/>
                  </a:lnTo>
                  <a:lnTo>
                    <a:pt x="170" y="151"/>
                  </a:lnTo>
                  <a:lnTo>
                    <a:pt x="138" y="75"/>
                  </a:lnTo>
                  <a:lnTo>
                    <a:pt x="127" y="51"/>
                  </a:lnTo>
                  <a:lnTo>
                    <a:pt x="117" y="75"/>
                  </a:lnTo>
                  <a:lnTo>
                    <a:pt x="84" y="151"/>
                  </a:lnTo>
                  <a:lnTo>
                    <a:pt x="78" y="167"/>
                  </a:lnTo>
                  <a:close/>
                  <a:moveTo>
                    <a:pt x="145" y="0"/>
                  </a:moveTo>
                  <a:lnTo>
                    <a:pt x="110" y="0"/>
                  </a:lnTo>
                  <a:lnTo>
                    <a:pt x="0" y="256"/>
                  </a:lnTo>
                  <a:lnTo>
                    <a:pt x="52" y="256"/>
                  </a:lnTo>
                  <a:lnTo>
                    <a:pt x="76" y="199"/>
                  </a:lnTo>
                  <a:lnTo>
                    <a:pt x="179" y="199"/>
                  </a:lnTo>
                  <a:lnTo>
                    <a:pt x="203" y="256"/>
                  </a:lnTo>
                  <a:lnTo>
                    <a:pt x="255" y="256"/>
                  </a:lnTo>
                  <a:lnTo>
                    <a:pt x="145" y="0"/>
                  </a:lnTo>
                  <a:close/>
                  <a:moveTo>
                    <a:pt x="95" y="156"/>
                  </a:moveTo>
                  <a:lnTo>
                    <a:pt x="127" y="80"/>
                  </a:lnTo>
                  <a:lnTo>
                    <a:pt x="160" y="156"/>
                  </a:lnTo>
                  <a:lnTo>
                    <a:pt x="95"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5"/>
            <p:cNvSpPr>
              <a:spLocks noEditPoints="1"/>
            </p:cNvSpPr>
            <p:nvPr userDrawn="1"/>
          </p:nvSpPr>
          <p:spPr bwMode="auto">
            <a:xfrm>
              <a:off x="7410450" y="4200525"/>
              <a:ext cx="350838" cy="412750"/>
            </a:xfrm>
            <a:custGeom>
              <a:avLst/>
              <a:gdLst>
                <a:gd name="T0" fmla="*/ 2198 w 2316"/>
                <a:gd name="T1" fmla="*/ 117 h 2741"/>
                <a:gd name="T2" fmla="*/ 2198 w 2316"/>
                <a:gd name="T3" fmla="*/ 1563 h 2741"/>
                <a:gd name="T4" fmla="*/ 1890 w 2316"/>
                <a:gd name="T5" fmla="*/ 2375 h 2741"/>
                <a:gd name="T6" fmla="*/ 1158 w 2316"/>
                <a:gd name="T7" fmla="*/ 2624 h 2741"/>
                <a:gd name="T8" fmla="*/ 425 w 2316"/>
                <a:gd name="T9" fmla="*/ 2376 h 2741"/>
                <a:gd name="T10" fmla="*/ 117 w 2316"/>
                <a:gd name="T11" fmla="*/ 1563 h 2741"/>
                <a:gd name="T12" fmla="*/ 117 w 2316"/>
                <a:gd name="T13" fmla="*/ 117 h 2741"/>
                <a:gd name="T14" fmla="*/ 404 w 2316"/>
                <a:gd name="T15" fmla="*/ 117 h 2741"/>
                <a:gd name="T16" fmla="*/ 404 w 2316"/>
                <a:gd name="T17" fmla="*/ 1602 h 2741"/>
                <a:gd name="T18" fmla="*/ 618 w 2316"/>
                <a:gd name="T19" fmla="*/ 2189 h 2741"/>
                <a:gd name="T20" fmla="*/ 1158 w 2316"/>
                <a:gd name="T21" fmla="*/ 2395 h 2741"/>
                <a:gd name="T22" fmla="*/ 1698 w 2316"/>
                <a:gd name="T23" fmla="*/ 2189 h 2741"/>
                <a:gd name="T24" fmla="*/ 1912 w 2316"/>
                <a:gd name="T25" fmla="*/ 1602 h 2741"/>
                <a:gd name="T26" fmla="*/ 1912 w 2316"/>
                <a:gd name="T27" fmla="*/ 117 h 2741"/>
                <a:gd name="T28" fmla="*/ 2198 w 2316"/>
                <a:gd name="T29" fmla="*/ 117 h 2741"/>
                <a:gd name="T30" fmla="*/ 2316 w 2316"/>
                <a:gd name="T31" fmla="*/ 0 h 2741"/>
                <a:gd name="T32" fmla="*/ 1794 w 2316"/>
                <a:gd name="T33" fmla="*/ 0 h 2741"/>
                <a:gd name="T34" fmla="*/ 1794 w 2316"/>
                <a:gd name="T35" fmla="*/ 1602 h 2741"/>
                <a:gd name="T36" fmla="*/ 1617 w 2316"/>
                <a:gd name="T37" fmla="*/ 2104 h 2741"/>
                <a:gd name="T38" fmla="*/ 1158 w 2316"/>
                <a:gd name="T39" fmla="*/ 2277 h 2741"/>
                <a:gd name="T40" fmla="*/ 698 w 2316"/>
                <a:gd name="T41" fmla="*/ 2104 h 2741"/>
                <a:gd name="T42" fmla="*/ 521 w 2316"/>
                <a:gd name="T43" fmla="*/ 1602 h 2741"/>
                <a:gd name="T44" fmla="*/ 521 w 2316"/>
                <a:gd name="T45" fmla="*/ 0 h 2741"/>
                <a:gd name="T46" fmla="*/ 0 w 2316"/>
                <a:gd name="T47" fmla="*/ 0 h 2741"/>
                <a:gd name="T48" fmla="*/ 0 w 2316"/>
                <a:gd name="T49" fmla="*/ 1563 h 2741"/>
                <a:gd name="T50" fmla="*/ 347 w 2316"/>
                <a:gd name="T51" fmla="*/ 2463 h 2741"/>
                <a:gd name="T52" fmla="*/ 1158 w 2316"/>
                <a:gd name="T53" fmla="*/ 2741 h 2741"/>
                <a:gd name="T54" fmla="*/ 1968 w 2316"/>
                <a:gd name="T55" fmla="*/ 2463 h 2741"/>
                <a:gd name="T56" fmla="*/ 2316 w 2316"/>
                <a:gd name="T57" fmla="*/ 1563 h 2741"/>
                <a:gd name="T58" fmla="*/ 2316 w 2316"/>
                <a:gd name="T59" fmla="*/ 0 h 2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6" h="2741">
                  <a:moveTo>
                    <a:pt x="2198" y="117"/>
                  </a:moveTo>
                  <a:cubicBezTo>
                    <a:pt x="2198" y="1563"/>
                    <a:pt x="2198" y="1563"/>
                    <a:pt x="2198" y="1563"/>
                  </a:cubicBezTo>
                  <a:cubicBezTo>
                    <a:pt x="2198" y="1924"/>
                    <a:pt x="2098" y="2189"/>
                    <a:pt x="1890" y="2375"/>
                  </a:cubicBezTo>
                  <a:cubicBezTo>
                    <a:pt x="1713" y="2533"/>
                    <a:pt x="1446" y="2624"/>
                    <a:pt x="1158" y="2624"/>
                  </a:cubicBezTo>
                  <a:cubicBezTo>
                    <a:pt x="870" y="2624"/>
                    <a:pt x="602" y="2533"/>
                    <a:pt x="425" y="2376"/>
                  </a:cubicBezTo>
                  <a:cubicBezTo>
                    <a:pt x="218" y="2190"/>
                    <a:pt x="117" y="1924"/>
                    <a:pt x="117" y="1563"/>
                  </a:cubicBezTo>
                  <a:cubicBezTo>
                    <a:pt x="117" y="117"/>
                    <a:pt x="117" y="117"/>
                    <a:pt x="117" y="117"/>
                  </a:cubicBezTo>
                  <a:cubicBezTo>
                    <a:pt x="404" y="117"/>
                    <a:pt x="404" y="117"/>
                    <a:pt x="404" y="117"/>
                  </a:cubicBezTo>
                  <a:cubicBezTo>
                    <a:pt x="404" y="1602"/>
                    <a:pt x="404" y="1602"/>
                    <a:pt x="404" y="1602"/>
                  </a:cubicBezTo>
                  <a:cubicBezTo>
                    <a:pt x="404" y="1866"/>
                    <a:pt x="472" y="2052"/>
                    <a:pt x="618" y="2189"/>
                  </a:cubicBezTo>
                  <a:cubicBezTo>
                    <a:pt x="756" y="2321"/>
                    <a:pt x="947" y="2395"/>
                    <a:pt x="1158" y="2395"/>
                  </a:cubicBezTo>
                  <a:cubicBezTo>
                    <a:pt x="1368" y="2395"/>
                    <a:pt x="1560" y="2321"/>
                    <a:pt x="1698" y="2189"/>
                  </a:cubicBezTo>
                  <a:cubicBezTo>
                    <a:pt x="1844" y="2052"/>
                    <a:pt x="1912" y="1866"/>
                    <a:pt x="1912" y="1602"/>
                  </a:cubicBezTo>
                  <a:cubicBezTo>
                    <a:pt x="1912" y="117"/>
                    <a:pt x="1912" y="117"/>
                    <a:pt x="1912" y="117"/>
                  </a:cubicBezTo>
                  <a:cubicBezTo>
                    <a:pt x="2198" y="117"/>
                    <a:pt x="2198" y="117"/>
                    <a:pt x="2198" y="117"/>
                  </a:cubicBezTo>
                  <a:moveTo>
                    <a:pt x="2316" y="0"/>
                  </a:moveTo>
                  <a:cubicBezTo>
                    <a:pt x="1794" y="0"/>
                    <a:pt x="1794" y="0"/>
                    <a:pt x="1794" y="0"/>
                  </a:cubicBezTo>
                  <a:cubicBezTo>
                    <a:pt x="1794" y="1602"/>
                    <a:pt x="1794" y="1602"/>
                    <a:pt x="1794" y="1602"/>
                  </a:cubicBezTo>
                  <a:cubicBezTo>
                    <a:pt x="1794" y="1849"/>
                    <a:pt x="1729" y="2000"/>
                    <a:pt x="1617" y="2104"/>
                  </a:cubicBezTo>
                  <a:cubicBezTo>
                    <a:pt x="1501" y="2216"/>
                    <a:pt x="1339" y="2277"/>
                    <a:pt x="1158" y="2277"/>
                  </a:cubicBezTo>
                  <a:cubicBezTo>
                    <a:pt x="976" y="2277"/>
                    <a:pt x="814" y="2216"/>
                    <a:pt x="698" y="2104"/>
                  </a:cubicBezTo>
                  <a:cubicBezTo>
                    <a:pt x="586" y="2000"/>
                    <a:pt x="521" y="1849"/>
                    <a:pt x="521" y="1602"/>
                  </a:cubicBezTo>
                  <a:cubicBezTo>
                    <a:pt x="521" y="0"/>
                    <a:pt x="521" y="0"/>
                    <a:pt x="521" y="0"/>
                  </a:cubicBezTo>
                  <a:cubicBezTo>
                    <a:pt x="0" y="0"/>
                    <a:pt x="0" y="0"/>
                    <a:pt x="0" y="0"/>
                  </a:cubicBezTo>
                  <a:cubicBezTo>
                    <a:pt x="0" y="1563"/>
                    <a:pt x="0" y="1563"/>
                    <a:pt x="0" y="1563"/>
                  </a:cubicBezTo>
                  <a:cubicBezTo>
                    <a:pt x="0" y="1976"/>
                    <a:pt x="123" y="2262"/>
                    <a:pt x="347" y="2463"/>
                  </a:cubicBezTo>
                  <a:cubicBezTo>
                    <a:pt x="556" y="2648"/>
                    <a:pt x="853" y="2741"/>
                    <a:pt x="1158" y="2741"/>
                  </a:cubicBezTo>
                  <a:cubicBezTo>
                    <a:pt x="1463" y="2741"/>
                    <a:pt x="1760" y="2648"/>
                    <a:pt x="1968" y="2463"/>
                  </a:cubicBezTo>
                  <a:cubicBezTo>
                    <a:pt x="2192" y="2262"/>
                    <a:pt x="2316" y="1976"/>
                    <a:pt x="2316" y="1563"/>
                  </a:cubicBezTo>
                  <a:lnTo>
                    <a:pt x="2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noEditPoints="1"/>
            </p:cNvSpPr>
            <p:nvPr userDrawn="1"/>
          </p:nvSpPr>
          <p:spPr bwMode="auto">
            <a:xfrm>
              <a:off x="8145463" y="4194175"/>
              <a:ext cx="285750" cy="419100"/>
            </a:xfrm>
            <a:custGeom>
              <a:avLst/>
              <a:gdLst>
                <a:gd name="T0" fmla="*/ 1016 w 1892"/>
                <a:gd name="T1" fmla="*/ 117 h 2779"/>
                <a:gd name="T2" fmla="*/ 1635 w 1892"/>
                <a:gd name="T3" fmla="*/ 284 h 2779"/>
                <a:gd name="T4" fmla="*/ 1502 w 1892"/>
                <a:gd name="T5" fmla="*/ 474 h 2779"/>
                <a:gd name="T6" fmla="*/ 1062 w 1892"/>
                <a:gd name="T7" fmla="*/ 346 h 2779"/>
                <a:gd name="T8" fmla="*/ 528 w 1892"/>
                <a:gd name="T9" fmla="*/ 756 h 2779"/>
                <a:gd name="T10" fmla="*/ 1057 w 1892"/>
                <a:gd name="T11" fmla="*/ 1224 h 2779"/>
                <a:gd name="T12" fmla="*/ 1775 w 1892"/>
                <a:gd name="T13" fmla="*/ 1968 h 2779"/>
                <a:gd name="T14" fmla="*/ 977 w 1892"/>
                <a:gd name="T15" fmla="*/ 2662 h 2779"/>
                <a:gd name="T16" fmla="*/ 171 w 1892"/>
                <a:gd name="T17" fmla="*/ 2365 h 2779"/>
                <a:gd name="T18" fmla="*/ 343 w 1892"/>
                <a:gd name="T19" fmla="*/ 2185 h 2779"/>
                <a:gd name="T20" fmla="*/ 977 w 1892"/>
                <a:gd name="T21" fmla="*/ 2433 h 2779"/>
                <a:gd name="T22" fmla="*/ 1488 w 1892"/>
                <a:gd name="T23" fmla="*/ 1976 h 2779"/>
                <a:gd name="T24" fmla="*/ 906 w 1892"/>
                <a:gd name="T25" fmla="*/ 1427 h 2779"/>
                <a:gd name="T26" fmla="*/ 565 w 1892"/>
                <a:gd name="T27" fmla="*/ 1272 h 2779"/>
                <a:gd name="T28" fmla="*/ 241 w 1892"/>
                <a:gd name="T29" fmla="*/ 760 h 2779"/>
                <a:gd name="T30" fmla="*/ 1016 w 1892"/>
                <a:gd name="T31" fmla="*/ 117 h 2779"/>
                <a:gd name="T32" fmla="*/ 1016 w 1892"/>
                <a:gd name="T33" fmla="*/ 0 h 2779"/>
                <a:gd name="T34" fmla="*/ 124 w 1892"/>
                <a:gd name="T35" fmla="*/ 760 h 2779"/>
                <a:gd name="T36" fmla="*/ 506 w 1892"/>
                <a:gd name="T37" fmla="*/ 1374 h 2779"/>
                <a:gd name="T38" fmla="*/ 1371 w 1892"/>
                <a:gd name="T39" fmla="*/ 1976 h 2779"/>
                <a:gd name="T40" fmla="*/ 977 w 1892"/>
                <a:gd name="T41" fmla="*/ 2315 h 2779"/>
                <a:gd name="T42" fmla="*/ 340 w 1892"/>
                <a:gd name="T43" fmla="*/ 2018 h 2779"/>
                <a:gd name="T44" fmla="*/ 0 w 1892"/>
                <a:gd name="T45" fmla="*/ 2373 h 2779"/>
                <a:gd name="T46" fmla="*/ 977 w 1892"/>
                <a:gd name="T47" fmla="*/ 2779 h 2779"/>
                <a:gd name="T48" fmla="*/ 1892 w 1892"/>
                <a:gd name="T49" fmla="*/ 1968 h 2779"/>
                <a:gd name="T50" fmla="*/ 645 w 1892"/>
                <a:gd name="T51" fmla="*/ 756 h 2779"/>
                <a:gd name="T52" fmla="*/ 1062 w 1892"/>
                <a:gd name="T53" fmla="*/ 463 h 2779"/>
                <a:gd name="T54" fmla="*/ 1529 w 1892"/>
                <a:gd name="T55" fmla="*/ 640 h 2779"/>
                <a:gd name="T56" fmla="*/ 1799 w 1892"/>
                <a:gd name="T57" fmla="*/ 254 h 2779"/>
                <a:gd name="T58" fmla="*/ 1016 w 1892"/>
                <a:gd name="T59" fmla="*/ 0 h 2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92" h="2779">
                  <a:moveTo>
                    <a:pt x="1016" y="117"/>
                  </a:moveTo>
                  <a:cubicBezTo>
                    <a:pt x="1253" y="117"/>
                    <a:pt x="1449" y="169"/>
                    <a:pt x="1635" y="284"/>
                  </a:cubicBezTo>
                  <a:cubicBezTo>
                    <a:pt x="1502" y="474"/>
                    <a:pt x="1502" y="474"/>
                    <a:pt x="1502" y="474"/>
                  </a:cubicBezTo>
                  <a:cubicBezTo>
                    <a:pt x="1374" y="394"/>
                    <a:pt x="1212" y="346"/>
                    <a:pt x="1062" y="346"/>
                  </a:cubicBezTo>
                  <a:cubicBezTo>
                    <a:pt x="748" y="346"/>
                    <a:pt x="528" y="515"/>
                    <a:pt x="528" y="756"/>
                  </a:cubicBezTo>
                  <a:cubicBezTo>
                    <a:pt x="528" y="1014"/>
                    <a:pt x="785" y="1116"/>
                    <a:pt x="1057" y="1224"/>
                  </a:cubicBezTo>
                  <a:cubicBezTo>
                    <a:pt x="1410" y="1364"/>
                    <a:pt x="1775" y="1509"/>
                    <a:pt x="1775" y="1968"/>
                  </a:cubicBezTo>
                  <a:cubicBezTo>
                    <a:pt x="1775" y="2402"/>
                    <a:pt x="1369" y="2662"/>
                    <a:pt x="977" y="2662"/>
                  </a:cubicBezTo>
                  <a:cubicBezTo>
                    <a:pt x="693" y="2662"/>
                    <a:pt x="416" y="2559"/>
                    <a:pt x="171" y="2365"/>
                  </a:cubicBezTo>
                  <a:cubicBezTo>
                    <a:pt x="343" y="2185"/>
                    <a:pt x="343" y="2185"/>
                    <a:pt x="343" y="2185"/>
                  </a:cubicBezTo>
                  <a:cubicBezTo>
                    <a:pt x="524" y="2341"/>
                    <a:pt x="754" y="2433"/>
                    <a:pt x="977" y="2433"/>
                  </a:cubicBezTo>
                  <a:cubicBezTo>
                    <a:pt x="1273" y="2433"/>
                    <a:pt x="1488" y="2240"/>
                    <a:pt x="1488" y="1976"/>
                  </a:cubicBezTo>
                  <a:cubicBezTo>
                    <a:pt x="1488" y="1656"/>
                    <a:pt x="1192" y="1539"/>
                    <a:pt x="906" y="1427"/>
                  </a:cubicBezTo>
                  <a:cubicBezTo>
                    <a:pt x="790" y="1381"/>
                    <a:pt x="669" y="1334"/>
                    <a:pt x="565" y="1272"/>
                  </a:cubicBezTo>
                  <a:cubicBezTo>
                    <a:pt x="344" y="1144"/>
                    <a:pt x="241" y="981"/>
                    <a:pt x="241" y="760"/>
                  </a:cubicBezTo>
                  <a:cubicBezTo>
                    <a:pt x="241" y="342"/>
                    <a:pt x="640" y="117"/>
                    <a:pt x="1016" y="117"/>
                  </a:cubicBezTo>
                  <a:moveTo>
                    <a:pt x="1016" y="0"/>
                  </a:moveTo>
                  <a:cubicBezTo>
                    <a:pt x="568" y="0"/>
                    <a:pt x="124" y="278"/>
                    <a:pt x="124" y="760"/>
                  </a:cubicBezTo>
                  <a:cubicBezTo>
                    <a:pt x="124" y="1065"/>
                    <a:pt x="294" y="1250"/>
                    <a:pt x="506" y="1374"/>
                  </a:cubicBezTo>
                  <a:cubicBezTo>
                    <a:pt x="869" y="1586"/>
                    <a:pt x="1371" y="1628"/>
                    <a:pt x="1371" y="1976"/>
                  </a:cubicBezTo>
                  <a:cubicBezTo>
                    <a:pt x="1371" y="2173"/>
                    <a:pt x="1209" y="2315"/>
                    <a:pt x="977" y="2315"/>
                  </a:cubicBezTo>
                  <a:cubicBezTo>
                    <a:pt x="730" y="2315"/>
                    <a:pt x="494" y="2188"/>
                    <a:pt x="340" y="2018"/>
                  </a:cubicBezTo>
                  <a:cubicBezTo>
                    <a:pt x="0" y="2373"/>
                    <a:pt x="0" y="2373"/>
                    <a:pt x="0" y="2373"/>
                  </a:cubicBezTo>
                  <a:cubicBezTo>
                    <a:pt x="278" y="2628"/>
                    <a:pt x="614" y="2779"/>
                    <a:pt x="977" y="2779"/>
                  </a:cubicBezTo>
                  <a:cubicBezTo>
                    <a:pt x="1463" y="2779"/>
                    <a:pt x="1892" y="2447"/>
                    <a:pt x="1892" y="1968"/>
                  </a:cubicBezTo>
                  <a:cubicBezTo>
                    <a:pt x="1892" y="1057"/>
                    <a:pt x="645" y="1192"/>
                    <a:pt x="645" y="756"/>
                  </a:cubicBezTo>
                  <a:cubicBezTo>
                    <a:pt x="645" y="548"/>
                    <a:pt x="865" y="463"/>
                    <a:pt x="1062" y="463"/>
                  </a:cubicBezTo>
                  <a:cubicBezTo>
                    <a:pt x="1239" y="463"/>
                    <a:pt x="1421" y="540"/>
                    <a:pt x="1529" y="640"/>
                  </a:cubicBezTo>
                  <a:cubicBezTo>
                    <a:pt x="1799" y="254"/>
                    <a:pt x="1799" y="254"/>
                    <a:pt x="1799" y="254"/>
                  </a:cubicBezTo>
                  <a:cubicBezTo>
                    <a:pt x="1544" y="65"/>
                    <a:pt x="1290" y="0"/>
                    <a:pt x="10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8497888" y="4200525"/>
              <a:ext cx="407988" cy="406400"/>
            </a:xfrm>
            <a:custGeom>
              <a:avLst/>
              <a:gdLst>
                <a:gd name="T0" fmla="*/ 246 w 257"/>
                <a:gd name="T1" fmla="*/ 11 h 256"/>
                <a:gd name="T2" fmla="*/ 246 w 257"/>
                <a:gd name="T3" fmla="*/ 245 h 256"/>
                <a:gd name="T4" fmla="*/ 219 w 257"/>
                <a:gd name="T5" fmla="*/ 245 h 256"/>
                <a:gd name="T6" fmla="*/ 219 w 257"/>
                <a:gd name="T7" fmla="*/ 113 h 256"/>
                <a:gd name="T8" fmla="*/ 219 w 257"/>
                <a:gd name="T9" fmla="*/ 74 h 256"/>
                <a:gd name="T10" fmla="*/ 198 w 257"/>
                <a:gd name="T11" fmla="*/ 108 h 256"/>
                <a:gd name="T12" fmla="*/ 140 w 257"/>
                <a:gd name="T13" fmla="*/ 203 h 256"/>
                <a:gd name="T14" fmla="*/ 118 w 257"/>
                <a:gd name="T15" fmla="*/ 203 h 256"/>
                <a:gd name="T16" fmla="*/ 59 w 257"/>
                <a:gd name="T17" fmla="*/ 108 h 256"/>
                <a:gd name="T18" fmla="*/ 39 w 257"/>
                <a:gd name="T19" fmla="*/ 74 h 256"/>
                <a:gd name="T20" fmla="*/ 39 w 257"/>
                <a:gd name="T21" fmla="*/ 113 h 256"/>
                <a:gd name="T22" fmla="*/ 39 w 257"/>
                <a:gd name="T23" fmla="*/ 245 h 256"/>
                <a:gd name="T24" fmla="*/ 11 w 257"/>
                <a:gd name="T25" fmla="*/ 245 h 256"/>
                <a:gd name="T26" fmla="*/ 11 w 257"/>
                <a:gd name="T27" fmla="*/ 11 h 256"/>
                <a:gd name="T28" fmla="*/ 29 w 257"/>
                <a:gd name="T29" fmla="*/ 11 h 256"/>
                <a:gd name="T30" fmla="*/ 119 w 257"/>
                <a:gd name="T31" fmla="*/ 159 h 256"/>
                <a:gd name="T32" fmla="*/ 129 w 257"/>
                <a:gd name="T33" fmla="*/ 175 h 256"/>
                <a:gd name="T34" fmla="*/ 138 w 257"/>
                <a:gd name="T35" fmla="*/ 159 h 256"/>
                <a:gd name="T36" fmla="*/ 229 w 257"/>
                <a:gd name="T37" fmla="*/ 11 h 256"/>
                <a:gd name="T38" fmla="*/ 246 w 257"/>
                <a:gd name="T39" fmla="*/ 11 h 256"/>
                <a:gd name="T40" fmla="*/ 257 w 257"/>
                <a:gd name="T41" fmla="*/ 0 h 256"/>
                <a:gd name="T42" fmla="*/ 223 w 257"/>
                <a:gd name="T43" fmla="*/ 0 h 256"/>
                <a:gd name="T44" fmla="*/ 129 w 257"/>
                <a:gd name="T45" fmla="*/ 153 h 256"/>
                <a:gd name="T46" fmla="*/ 35 w 257"/>
                <a:gd name="T47" fmla="*/ 0 h 256"/>
                <a:gd name="T48" fmla="*/ 0 w 257"/>
                <a:gd name="T49" fmla="*/ 0 h 256"/>
                <a:gd name="T50" fmla="*/ 0 w 257"/>
                <a:gd name="T51" fmla="*/ 256 h 256"/>
                <a:gd name="T52" fmla="*/ 50 w 257"/>
                <a:gd name="T53" fmla="*/ 256 h 256"/>
                <a:gd name="T54" fmla="*/ 50 w 257"/>
                <a:gd name="T55" fmla="*/ 113 h 256"/>
                <a:gd name="T56" fmla="*/ 112 w 257"/>
                <a:gd name="T57" fmla="*/ 214 h 256"/>
                <a:gd name="T58" fmla="*/ 146 w 257"/>
                <a:gd name="T59" fmla="*/ 214 h 256"/>
                <a:gd name="T60" fmla="*/ 208 w 257"/>
                <a:gd name="T61" fmla="*/ 113 h 256"/>
                <a:gd name="T62" fmla="*/ 208 w 257"/>
                <a:gd name="T63" fmla="*/ 256 h 256"/>
                <a:gd name="T64" fmla="*/ 257 w 257"/>
                <a:gd name="T65" fmla="*/ 256 h 256"/>
                <a:gd name="T66" fmla="*/ 257 w 257"/>
                <a:gd name="T6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56">
                  <a:moveTo>
                    <a:pt x="246" y="11"/>
                  </a:moveTo>
                  <a:lnTo>
                    <a:pt x="246" y="245"/>
                  </a:lnTo>
                  <a:lnTo>
                    <a:pt x="219" y="245"/>
                  </a:lnTo>
                  <a:lnTo>
                    <a:pt x="219" y="113"/>
                  </a:lnTo>
                  <a:lnTo>
                    <a:pt x="219" y="74"/>
                  </a:lnTo>
                  <a:lnTo>
                    <a:pt x="198" y="108"/>
                  </a:lnTo>
                  <a:lnTo>
                    <a:pt x="140" y="203"/>
                  </a:lnTo>
                  <a:lnTo>
                    <a:pt x="118" y="203"/>
                  </a:lnTo>
                  <a:lnTo>
                    <a:pt x="59" y="108"/>
                  </a:lnTo>
                  <a:lnTo>
                    <a:pt x="39" y="74"/>
                  </a:lnTo>
                  <a:lnTo>
                    <a:pt x="39" y="113"/>
                  </a:lnTo>
                  <a:lnTo>
                    <a:pt x="39" y="245"/>
                  </a:lnTo>
                  <a:lnTo>
                    <a:pt x="11" y="245"/>
                  </a:lnTo>
                  <a:lnTo>
                    <a:pt x="11" y="11"/>
                  </a:lnTo>
                  <a:lnTo>
                    <a:pt x="29" y="11"/>
                  </a:lnTo>
                  <a:lnTo>
                    <a:pt x="119" y="159"/>
                  </a:lnTo>
                  <a:lnTo>
                    <a:pt x="129" y="175"/>
                  </a:lnTo>
                  <a:lnTo>
                    <a:pt x="138" y="159"/>
                  </a:lnTo>
                  <a:lnTo>
                    <a:pt x="229" y="11"/>
                  </a:lnTo>
                  <a:lnTo>
                    <a:pt x="246" y="11"/>
                  </a:lnTo>
                  <a:close/>
                  <a:moveTo>
                    <a:pt x="257" y="0"/>
                  </a:moveTo>
                  <a:lnTo>
                    <a:pt x="223" y="0"/>
                  </a:lnTo>
                  <a:lnTo>
                    <a:pt x="129" y="153"/>
                  </a:lnTo>
                  <a:lnTo>
                    <a:pt x="35" y="0"/>
                  </a:lnTo>
                  <a:lnTo>
                    <a:pt x="0" y="0"/>
                  </a:lnTo>
                  <a:lnTo>
                    <a:pt x="0" y="256"/>
                  </a:lnTo>
                  <a:lnTo>
                    <a:pt x="50" y="256"/>
                  </a:lnTo>
                  <a:lnTo>
                    <a:pt x="50" y="113"/>
                  </a:lnTo>
                  <a:lnTo>
                    <a:pt x="112" y="214"/>
                  </a:lnTo>
                  <a:lnTo>
                    <a:pt x="146" y="214"/>
                  </a:lnTo>
                  <a:lnTo>
                    <a:pt x="208" y="113"/>
                  </a:lnTo>
                  <a:lnTo>
                    <a:pt x="208" y="256"/>
                  </a:lnTo>
                  <a:lnTo>
                    <a:pt x="257" y="256"/>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0"/>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moveTo>
                    <a:pt x="78" y="167"/>
                  </a:moveTo>
                  <a:lnTo>
                    <a:pt x="95" y="167"/>
                  </a:lnTo>
                  <a:lnTo>
                    <a:pt x="160" y="167"/>
                  </a:lnTo>
                  <a:lnTo>
                    <a:pt x="177" y="167"/>
                  </a:lnTo>
                  <a:lnTo>
                    <a:pt x="170" y="151"/>
                  </a:lnTo>
                  <a:lnTo>
                    <a:pt x="138" y="75"/>
                  </a:lnTo>
                  <a:lnTo>
                    <a:pt x="127" y="51"/>
                  </a:lnTo>
                  <a:lnTo>
                    <a:pt x="117" y="75"/>
                  </a:lnTo>
                  <a:lnTo>
                    <a:pt x="84" y="151"/>
                  </a:lnTo>
                  <a:lnTo>
                    <a:pt x="78" y="167"/>
                  </a:lnTo>
                  <a:moveTo>
                    <a:pt x="145" y="0"/>
                  </a:moveTo>
                  <a:lnTo>
                    <a:pt x="110" y="0"/>
                  </a:lnTo>
                  <a:lnTo>
                    <a:pt x="0" y="256"/>
                  </a:lnTo>
                  <a:lnTo>
                    <a:pt x="52" y="256"/>
                  </a:lnTo>
                  <a:lnTo>
                    <a:pt x="76" y="199"/>
                  </a:lnTo>
                  <a:lnTo>
                    <a:pt x="179" y="199"/>
                  </a:lnTo>
                  <a:lnTo>
                    <a:pt x="203" y="256"/>
                  </a:lnTo>
                  <a:lnTo>
                    <a:pt x="255" y="256"/>
                  </a:lnTo>
                  <a:lnTo>
                    <a:pt x="145" y="0"/>
                  </a:lnTo>
                  <a:moveTo>
                    <a:pt x="95" y="156"/>
                  </a:moveTo>
                  <a:lnTo>
                    <a:pt x="127" y="80"/>
                  </a:lnTo>
                  <a:lnTo>
                    <a:pt x="160" y="156"/>
                  </a:lnTo>
                  <a:lnTo>
                    <a:pt x="95" y="1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1"/>
            <p:cNvSpPr>
              <a:spLocks noEditPoints="1"/>
            </p:cNvSpPr>
            <p:nvPr userDrawn="1"/>
          </p:nvSpPr>
          <p:spPr bwMode="auto">
            <a:xfrm>
              <a:off x="9763125" y="4200525"/>
              <a:ext cx="295275" cy="406400"/>
            </a:xfrm>
            <a:custGeom>
              <a:avLst/>
              <a:gdLst>
                <a:gd name="T0" fmla="*/ 175 w 186"/>
                <a:gd name="T1" fmla="*/ 11 h 256"/>
                <a:gd name="T2" fmla="*/ 175 w 186"/>
                <a:gd name="T3" fmla="*/ 32 h 256"/>
                <a:gd name="T4" fmla="*/ 118 w 186"/>
                <a:gd name="T5" fmla="*/ 32 h 256"/>
                <a:gd name="T6" fmla="*/ 107 w 186"/>
                <a:gd name="T7" fmla="*/ 32 h 256"/>
                <a:gd name="T8" fmla="*/ 107 w 186"/>
                <a:gd name="T9" fmla="*/ 44 h 256"/>
                <a:gd name="T10" fmla="*/ 107 w 186"/>
                <a:gd name="T11" fmla="*/ 245 h 256"/>
                <a:gd name="T12" fmla="*/ 80 w 186"/>
                <a:gd name="T13" fmla="*/ 245 h 256"/>
                <a:gd name="T14" fmla="*/ 80 w 186"/>
                <a:gd name="T15" fmla="*/ 44 h 256"/>
                <a:gd name="T16" fmla="*/ 80 w 186"/>
                <a:gd name="T17" fmla="*/ 32 h 256"/>
                <a:gd name="T18" fmla="*/ 68 w 186"/>
                <a:gd name="T19" fmla="*/ 32 h 256"/>
                <a:gd name="T20" fmla="*/ 12 w 186"/>
                <a:gd name="T21" fmla="*/ 32 h 256"/>
                <a:gd name="T22" fmla="*/ 12 w 186"/>
                <a:gd name="T23" fmla="*/ 11 h 256"/>
                <a:gd name="T24" fmla="*/ 175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5" y="11"/>
                  </a:moveTo>
                  <a:lnTo>
                    <a:pt x="175" y="32"/>
                  </a:lnTo>
                  <a:lnTo>
                    <a:pt x="118" y="32"/>
                  </a:lnTo>
                  <a:lnTo>
                    <a:pt x="107" y="32"/>
                  </a:lnTo>
                  <a:lnTo>
                    <a:pt x="107" y="44"/>
                  </a:lnTo>
                  <a:lnTo>
                    <a:pt x="107" y="245"/>
                  </a:lnTo>
                  <a:lnTo>
                    <a:pt x="80" y="245"/>
                  </a:lnTo>
                  <a:lnTo>
                    <a:pt x="80" y="44"/>
                  </a:lnTo>
                  <a:lnTo>
                    <a:pt x="80" y="32"/>
                  </a:lnTo>
                  <a:lnTo>
                    <a:pt x="68" y="32"/>
                  </a:lnTo>
                  <a:lnTo>
                    <a:pt x="12" y="32"/>
                  </a:lnTo>
                  <a:lnTo>
                    <a:pt x="12" y="11"/>
                  </a:lnTo>
                  <a:lnTo>
                    <a:pt x="175"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9407525" y="4198938"/>
              <a:ext cx="338138" cy="407988"/>
            </a:xfrm>
            <a:custGeom>
              <a:avLst/>
              <a:gdLst>
                <a:gd name="T0" fmla="*/ 1027 w 2239"/>
                <a:gd name="T1" fmla="*/ 113 h 2704"/>
                <a:gd name="T2" fmla="*/ 1731 w 2239"/>
                <a:gd name="T3" fmla="*/ 361 h 2704"/>
                <a:gd name="T4" fmla="*/ 1923 w 2239"/>
                <a:gd name="T5" fmla="*/ 849 h 2704"/>
                <a:gd name="T6" fmla="*/ 1923 w 2239"/>
                <a:gd name="T7" fmla="*/ 856 h 2704"/>
                <a:gd name="T8" fmla="*/ 1250 w 2239"/>
                <a:gd name="T9" fmla="*/ 1578 h 2704"/>
                <a:gd name="T10" fmla="*/ 2011 w 2239"/>
                <a:gd name="T11" fmla="*/ 2590 h 2704"/>
                <a:gd name="T12" fmla="*/ 1668 w 2239"/>
                <a:gd name="T13" fmla="*/ 2590 h 2704"/>
                <a:gd name="T14" fmla="*/ 949 w 2239"/>
                <a:gd name="T15" fmla="*/ 1628 h 2704"/>
                <a:gd name="T16" fmla="*/ 393 w 2239"/>
                <a:gd name="T17" fmla="*/ 1628 h 2704"/>
                <a:gd name="T18" fmla="*/ 393 w 2239"/>
                <a:gd name="T19" fmla="*/ 2590 h 2704"/>
                <a:gd name="T20" fmla="*/ 114 w 2239"/>
                <a:gd name="T21" fmla="*/ 2590 h 2704"/>
                <a:gd name="T22" fmla="*/ 114 w 2239"/>
                <a:gd name="T23" fmla="*/ 113 h 2704"/>
                <a:gd name="T24" fmla="*/ 1027 w 2239"/>
                <a:gd name="T25" fmla="*/ 113 h 2704"/>
                <a:gd name="T26" fmla="*/ 393 w 2239"/>
                <a:gd name="T27" fmla="*/ 1377 h 2704"/>
                <a:gd name="T28" fmla="*/ 1003 w 2239"/>
                <a:gd name="T29" fmla="*/ 1377 h 2704"/>
                <a:gd name="T30" fmla="*/ 1639 w 2239"/>
                <a:gd name="T31" fmla="*/ 867 h 2704"/>
                <a:gd name="T32" fmla="*/ 1639 w 2239"/>
                <a:gd name="T33" fmla="*/ 860 h 2704"/>
                <a:gd name="T34" fmla="*/ 1006 w 2239"/>
                <a:gd name="T35" fmla="*/ 372 h 2704"/>
                <a:gd name="T36" fmla="*/ 393 w 2239"/>
                <a:gd name="T37" fmla="*/ 372 h 2704"/>
                <a:gd name="T38" fmla="*/ 393 w 2239"/>
                <a:gd name="T39" fmla="*/ 1377 h 2704"/>
                <a:gd name="T40" fmla="*/ 1027 w 2239"/>
                <a:gd name="T41" fmla="*/ 0 h 2704"/>
                <a:gd name="T42" fmla="*/ 114 w 2239"/>
                <a:gd name="T43" fmla="*/ 0 h 2704"/>
                <a:gd name="T44" fmla="*/ 0 w 2239"/>
                <a:gd name="T45" fmla="*/ 0 h 2704"/>
                <a:gd name="T46" fmla="*/ 0 w 2239"/>
                <a:gd name="T47" fmla="*/ 113 h 2704"/>
                <a:gd name="T48" fmla="*/ 0 w 2239"/>
                <a:gd name="T49" fmla="*/ 2590 h 2704"/>
                <a:gd name="T50" fmla="*/ 0 w 2239"/>
                <a:gd name="T51" fmla="*/ 2704 h 2704"/>
                <a:gd name="T52" fmla="*/ 114 w 2239"/>
                <a:gd name="T53" fmla="*/ 2704 h 2704"/>
                <a:gd name="T54" fmla="*/ 393 w 2239"/>
                <a:gd name="T55" fmla="*/ 2704 h 2704"/>
                <a:gd name="T56" fmla="*/ 507 w 2239"/>
                <a:gd name="T57" fmla="*/ 2704 h 2704"/>
                <a:gd name="T58" fmla="*/ 507 w 2239"/>
                <a:gd name="T59" fmla="*/ 2590 h 2704"/>
                <a:gd name="T60" fmla="*/ 507 w 2239"/>
                <a:gd name="T61" fmla="*/ 1742 h 2704"/>
                <a:gd name="T62" fmla="*/ 892 w 2239"/>
                <a:gd name="T63" fmla="*/ 1742 h 2704"/>
                <a:gd name="T64" fmla="*/ 1577 w 2239"/>
                <a:gd name="T65" fmla="*/ 2658 h 2704"/>
                <a:gd name="T66" fmla="*/ 1611 w 2239"/>
                <a:gd name="T67" fmla="*/ 2704 h 2704"/>
                <a:gd name="T68" fmla="*/ 1668 w 2239"/>
                <a:gd name="T69" fmla="*/ 2704 h 2704"/>
                <a:gd name="T70" fmla="*/ 2011 w 2239"/>
                <a:gd name="T71" fmla="*/ 2704 h 2704"/>
                <a:gd name="T72" fmla="*/ 2239 w 2239"/>
                <a:gd name="T73" fmla="*/ 2704 h 2704"/>
                <a:gd name="T74" fmla="*/ 2102 w 2239"/>
                <a:gd name="T75" fmla="*/ 2522 h 2704"/>
                <a:gd name="T76" fmla="*/ 1443 w 2239"/>
                <a:gd name="T77" fmla="*/ 1646 h 2704"/>
                <a:gd name="T78" fmla="*/ 2036 w 2239"/>
                <a:gd name="T79" fmla="*/ 856 h 2704"/>
                <a:gd name="T80" fmla="*/ 2036 w 2239"/>
                <a:gd name="T81" fmla="*/ 849 h 2704"/>
                <a:gd name="T82" fmla="*/ 1812 w 2239"/>
                <a:gd name="T83" fmla="*/ 281 h 2704"/>
                <a:gd name="T84" fmla="*/ 1027 w 2239"/>
                <a:gd name="T85" fmla="*/ 0 h 2704"/>
                <a:gd name="T86" fmla="*/ 507 w 2239"/>
                <a:gd name="T87" fmla="*/ 485 h 2704"/>
                <a:gd name="T88" fmla="*/ 1006 w 2239"/>
                <a:gd name="T89" fmla="*/ 485 h 2704"/>
                <a:gd name="T90" fmla="*/ 1526 w 2239"/>
                <a:gd name="T91" fmla="*/ 860 h 2704"/>
                <a:gd name="T92" fmla="*/ 1526 w 2239"/>
                <a:gd name="T93" fmla="*/ 867 h 2704"/>
                <a:gd name="T94" fmla="*/ 1003 w 2239"/>
                <a:gd name="T95" fmla="*/ 1263 h 2704"/>
                <a:gd name="T96" fmla="*/ 507 w 2239"/>
                <a:gd name="T97" fmla="*/ 1263 h 2704"/>
                <a:gd name="T98" fmla="*/ 507 w 2239"/>
                <a:gd name="T99" fmla="*/ 485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9" h="2704">
                  <a:moveTo>
                    <a:pt x="1027" y="113"/>
                  </a:moveTo>
                  <a:cubicBezTo>
                    <a:pt x="1332" y="113"/>
                    <a:pt x="1576" y="205"/>
                    <a:pt x="1731" y="361"/>
                  </a:cubicBezTo>
                  <a:cubicBezTo>
                    <a:pt x="1852" y="481"/>
                    <a:pt x="1923" y="655"/>
                    <a:pt x="1923" y="849"/>
                  </a:cubicBezTo>
                  <a:cubicBezTo>
                    <a:pt x="1923" y="856"/>
                    <a:pt x="1923" y="856"/>
                    <a:pt x="1923" y="856"/>
                  </a:cubicBezTo>
                  <a:cubicBezTo>
                    <a:pt x="1923" y="1267"/>
                    <a:pt x="1639" y="1508"/>
                    <a:pt x="1250" y="1578"/>
                  </a:cubicBezTo>
                  <a:cubicBezTo>
                    <a:pt x="2011" y="2590"/>
                    <a:pt x="2011" y="2590"/>
                    <a:pt x="2011" y="2590"/>
                  </a:cubicBezTo>
                  <a:cubicBezTo>
                    <a:pt x="1668" y="2590"/>
                    <a:pt x="1668" y="2590"/>
                    <a:pt x="1668" y="2590"/>
                  </a:cubicBezTo>
                  <a:cubicBezTo>
                    <a:pt x="949" y="1628"/>
                    <a:pt x="949" y="1628"/>
                    <a:pt x="949" y="1628"/>
                  </a:cubicBezTo>
                  <a:cubicBezTo>
                    <a:pt x="393" y="1628"/>
                    <a:pt x="393" y="1628"/>
                    <a:pt x="393" y="1628"/>
                  </a:cubicBezTo>
                  <a:cubicBezTo>
                    <a:pt x="393" y="2590"/>
                    <a:pt x="393" y="2590"/>
                    <a:pt x="393" y="2590"/>
                  </a:cubicBezTo>
                  <a:cubicBezTo>
                    <a:pt x="114" y="2590"/>
                    <a:pt x="114" y="2590"/>
                    <a:pt x="114" y="2590"/>
                  </a:cubicBezTo>
                  <a:cubicBezTo>
                    <a:pt x="114" y="113"/>
                    <a:pt x="114" y="113"/>
                    <a:pt x="114" y="113"/>
                  </a:cubicBezTo>
                  <a:cubicBezTo>
                    <a:pt x="1027" y="113"/>
                    <a:pt x="1027" y="113"/>
                    <a:pt x="1027" y="113"/>
                  </a:cubicBezTo>
                  <a:moveTo>
                    <a:pt x="393" y="1377"/>
                  </a:moveTo>
                  <a:cubicBezTo>
                    <a:pt x="1003" y="1377"/>
                    <a:pt x="1003" y="1377"/>
                    <a:pt x="1003" y="1377"/>
                  </a:cubicBezTo>
                  <a:cubicBezTo>
                    <a:pt x="1374" y="1377"/>
                    <a:pt x="1639" y="1186"/>
                    <a:pt x="1639" y="867"/>
                  </a:cubicBezTo>
                  <a:cubicBezTo>
                    <a:pt x="1639" y="860"/>
                    <a:pt x="1639" y="860"/>
                    <a:pt x="1639" y="860"/>
                  </a:cubicBezTo>
                  <a:cubicBezTo>
                    <a:pt x="1639" y="556"/>
                    <a:pt x="1406" y="372"/>
                    <a:pt x="1006" y="372"/>
                  </a:cubicBezTo>
                  <a:cubicBezTo>
                    <a:pt x="393" y="372"/>
                    <a:pt x="393" y="372"/>
                    <a:pt x="393" y="372"/>
                  </a:cubicBezTo>
                  <a:cubicBezTo>
                    <a:pt x="393" y="1377"/>
                    <a:pt x="393" y="1377"/>
                    <a:pt x="393" y="1377"/>
                  </a:cubicBezTo>
                  <a:moveTo>
                    <a:pt x="1027" y="0"/>
                  </a:moveTo>
                  <a:cubicBezTo>
                    <a:pt x="114" y="0"/>
                    <a:pt x="114" y="0"/>
                    <a:pt x="114" y="0"/>
                  </a:cubicBezTo>
                  <a:cubicBezTo>
                    <a:pt x="0" y="0"/>
                    <a:pt x="0" y="0"/>
                    <a:pt x="0" y="0"/>
                  </a:cubicBezTo>
                  <a:cubicBezTo>
                    <a:pt x="0" y="113"/>
                    <a:pt x="0" y="113"/>
                    <a:pt x="0" y="113"/>
                  </a:cubicBezTo>
                  <a:cubicBezTo>
                    <a:pt x="0" y="2590"/>
                    <a:pt x="0" y="2590"/>
                    <a:pt x="0" y="2590"/>
                  </a:cubicBezTo>
                  <a:cubicBezTo>
                    <a:pt x="0" y="2704"/>
                    <a:pt x="0" y="2704"/>
                    <a:pt x="0" y="2704"/>
                  </a:cubicBezTo>
                  <a:cubicBezTo>
                    <a:pt x="114" y="2704"/>
                    <a:pt x="114" y="2704"/>
                    <a:pt x="114" y="2704"/>
                  </a:cubicBezTo>
                  <a:cubicBezTo>
                    <a:pt x="393" y="2704"/>
                    <a:pt x="393" y="2704"/>
                    <a:pt x="393" y="2704"/>
                  </a:cubicBezTo>
                  <a:cubicBezTo>
                    <a:pt x="507" y="2704"/>
                    <a:pt x="507" y="2704"/>
                    <a:pt x="507" y="2704"/>
                  </a:cubicBezTo>
                  <a:cubicBezTo>
                    <a:pt x="507" y="2590"/>
                    <a:pt x="507" y="2590"/>
                    <a:pt x="507" y="2590"/>
                  </a:cubicBezTo>
                  <a:cubicBezTo>
                    <a:pt x="507" y="1742"/>
                    <a:pt x="507" y="1742"/>
                    <a:pt x="507" y="1742"/>
                  </a:cubicBezTo>
                  <a:cubicBezTo>
                    <a:pt x="892" y="1742"/>
                    <a:pt x="892" y="1742"/>
                    <a:pt x="892" y="1742"/>
                  </a:cubicBezTo>
                  <a:cubicBezTo>
                    <a:pt x="1577" y="2658"/>
                    <a:pt x="1577" y="2658"/>
                    <a:pt x="1577" y="2658"/>
                  </a:cubicBezTo>
                  <a:cubicBezTo>
                    <a:pt x="1611" y="2704"/>
                    <a:pt x="1611" y="2704"/>
                    <a:pt x="1611" y="2704"/>
                  </a:cubicBezTo>
                  <a:cubicBezTo>
                    <a:pt x="1668" y="2704"/>
                    <a:pt x="1668" y="2704"/>
                    <a:pt x="1668" y="2704"/>
                  </a:cubicBezTo>
                  <a:cubicBezTo>
                    <a:pt x="2011" y="2704"/>
                    <a:pt x="2011" y="2704"/>
                    <a:pt x="2011" y="2704"/>
                  </a:cubicBezTo>
                  <a:cubicBezTo>
                    <a:pt x="2239" y="2704"/>
                    <a:pt x="2239" y="2704"/>
                    <a:pt x="2239" y="2704"/>
                  </a:cubicBezTo>
                  <a:cubicBezTo>
                    <a:pt x="2102" y="2522"/>
                    <a:pt x="2102" y="2522"/>
                    <a:pt x="2102" y="2522"/>
                  </a:cubicBezTo>
                  <a:cubicBezTo>
                    <a:pt x="1443" y="1646"/>
                    <a:pt x="1443" y="1646"/>
                    <a:pt x="1443" y="1646"/>
                  </a:cubicBezTo>
                  <a:cubicBezTo>
                    <a:pt x="1818" y="1522"/>
                    <a:pt x="2036" y="1236"/>
                    <a:pt x="2036" y="856"/>
                  </a:cubicBezTo>
                  <a:cubicBezTo>
                    <a:pt x="2036" y="849"/>
                    <a:pt x="2036" y="849"/>
                    <a:pt x="2036" y="849"/>
                  </a:cubicBezTo>
                  <a:cubicBezTo>
                    <a:pt x="2036" y="627"/>
                    <a:pt x="1956" y="426"/>
                    <a:pt x="1812" y="281"/>
                  </a:cubicBezTo>
                  <a:cubicBezTo>
                    <a:pt x="1631" y="100"/>
                    <a:pt x="1352" y="0"/>
                    <a:pt x="1027" y="0"/>
                  </a:cubicBezTo>
                  <a:moveTo>
                    <a:pt x="507" y="485"/>
                  </a:moveTo>
                  <a:cubicBezTo>
                    <a:pt x="1006" y="485"/>
                    <a:pt x="1006" y="485"/>
                    <a:pt x="1006" y="485"/>
                  </a:cubicBezTo>
                  <a:cubicBezTo>
                    <a:pt x="1458" y="485"/>
                    <a:pt x="1526" y="720"/>
                    <a:pt x="1526" y="860"/>
                  </a:cubicBezTo>
                  <a:cubicBezTo>
                    <a:pt x="1526" y="867"/>
                    <a:pt x="1526" y="867"/>
                    <a:pt x="1526" y="867"/>
                  </a:cubicBezTo>
                  <a:cubicBezTo>
                    <a:pt x="1526" y="1059"/>
                    <a:pt x="1388" y="1263"/>
                    <a:pt x="1003" y="1263"/>
                  </a:cubicBezTo>
                  <a:cubicBezTo>
                    <a:pt x="507" y="1263"/>
                    <a:pt x="507" y="1263"/>
                    <a:pt x="507" y="1263"/>
                  </a:cubicBezTo>
                  <a:lnTo>
                    <a:pt x="507" y="4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noEditPoints="1"/>
            </p:cNvSpPr>
            <p:nvPr userDrawn="1"/>
          </p:nvSpPr>
          <p:spPr bwMode="auto">
            <a:xfrm>
              <a:off x="6905625" y="4194175"/>
              <a:ext cx="450850" cy="419100"/>
            </a:xfrm>
            <a:custGeom>
              <a:avLst/>
              <a:gdLst>
                <a:gd name="T0" fmla="*/ 2979 w 2979"/>
                <a:gd name="T1" fmla="*/ 1386 h 2771"/>
                <a:gd name="T2" fmla="*/ 1619 w 2979"/>
                <a:gd name="T3" fmla="*/ 2 h 2771"/>
                <a:gd name="T4" fmla="*/ 1562 w 2979"/>
                <a:gd name="T5" fmla="*/ 2 h 2771"/>
                <a:gd name="T6" fmla="*/ 1279 w 2979"/>
                <a:gd name="T7" fmla="*/ 6 h 2771"/>
                <a:gd name="T8" fmla="*/ 0 w 2979"/>
                <a:gd name="T9" fmla="*/ 1386 h 2771"/>
                <a:gd name="T10" fmla="*/ 1375 w 2979"/>
                <a:gd name="T11" fmla="*/ 2770 h 2771"/>
                <a:gd name="T12" fmla="*/ 1429 w 2979"/>
                <a:gd name="T13" fmla="*/ 2770 h 2771"/>
                <a:gd name="T14" fmla="*/ 1516 w 2979"/>
                <a:gd name="T15" fmla="*/ 2771 h 2771"/>
                <a:gd name="T16" fmla="*/ 1639 w 2979"/>
                <a:gd name="T17" fmla="*/ 2766 h 2771"/>
                <a:gd name="T18" fmla="*/ 2979 w 2979"/>
                <a:gd name="T19" fmla="*/ 1386 h 2771"/>
                <a:gd name="T20" fmla="*/ 106 w 2979"/>
                <a:gd name="T21" fmla="*/ 1386 h 2771"/>
                <a:gd name="T22" fmla="*/ 1343 w 2979"/>
                <a:gd name="T23" fmla="*/ 111 h 2771"/>
                <a:gd name="T24" fmla="*/ 2506 w 2979"/>
                <a:gd name="T25" fmla="*/ 1386 h 2771"/>
                <a:gd name="T26" fmla="*/ 2504 w 2979"/>
                <a:gd name="T27" fmla="*/ 1386 h 2771"/>
                <a:gd name="T28" fmla="*/ 1768 w 2979"/>
                <a:gd name="T29" fmla="*/ 2300 h 2771"/>
                <a:gd name="T30" fmla="*/ 2244 w 2979"/>
                <a:gd name="T31" fmla="*/ 1362 h 2771"/>
                <a:gd name="T32" fmla="*/ 1981 w 2979"/>
                <a:gd name="T33" fmla="*/ 609 h 2771"/>
                <a:gd name="T34" fmla="*/ 1343 w 2979"/>
                <a:gd name="T35" fmla="*/ 355 h 2771"/>
                <a:gd name="T36" fmla="*/ 579 w 2979"/>
                <a:gd name="T37" fmla="*/ 724 h 2771"/>
                <a:gd name="T38" fmla="*/ 341 w 2979"/>
                <a:gd name="T39" fmla="*/ 1388 h 2771"/>
                <a:gd name="T40" fmla="*/ 1011 w 2979"/>
                <a:gd name="T41" fmla="*/ 2612 h 2771"/>
                <a:gd name="T42" fmla="*/ 106 w 2979"/>
                <a:gd name="T43" fmla="*/ 1386 h 2771"/>
                <a:gd name="T44" fmla="*/ 1453 w 2979"/>
                <a:gd name="T45" fmla="*/ 468 h 2771"/>
                <a:gd name="T46" fmla="*/ 1904 w 2979"/>
                <a:gd name="T47" fmla="*/ 683 h 2771"/>
                <a:gd name="T48" fmla="*/ 2138 w 2979"/>
                <a:gd name="T49" fmla="*/ 1359 h 2771"/>
                <a:gd name="T50" fmla="*/ 1500 w 2979"/>
                <a:gd name="T51" fmla="*/ 2299 h 2771"/>
                <a:gd name="T52" fmla="*/ 817 w 2979"/>
                <a:gd name="T53" fmla="*/ 1386 h 2771"/>
                <a:gd name="T54" fmla="*/ 1453 w 2979"/>
                <a:gd name="T55" fmla="*/ 468 h 2771"/>
                <a:gd name="T56" fmla="*/ 1636 w 2979"/>
                <a:gd name="T57" fmla="*/ 2660 h 2771"/>
                <a:gd name="T58" fmla="*/ 448 w 2979"/>
                <a:gd name="T59" fmla="*/ 1388 h 2771"/>
                <a:gd name="T60" fmla="*/ 662 w 2979"/>
                <a:gd name="T61" fmla="*/ 790 h 2771"/>
                <a:gd name="T62" fmla="*/ 1138 w 2979"/>
                <a:gd name="T63" fmla="*/ 484 h 2771"/>
                <a:gd name="T64" fmla="*/ 710 w 2979"/>
                <a:gd name="T65" fmla="*/ 1386 h 2771"/>
                <a:gd name="T66" fmla="*/ 1636 w 2979"/>
                <a:gd name="T67" fmla="*/ 2416 h 2771"/>
                <a:gd name="T68" fmla="*/ 2611 w 2979"/>
                <a:gd name="T69" fmla="*/ 1386 h 2771"/>
                <a:gd name="T70" fmla="*/ 2613 w 2979"/>
                <a:gd name="T71" fmla="*/ 1386 h 2771"/>
                <a:gd name="T72" fmla="*/ 1933 w 2979"/>
                <a:gd name="T73" fmla="*/ 147 h 2771"/>
                <a:gd name="T74" fmla="*/ 2873 w 2979"/>
                <a:gd name="T75" fmla="*/ 1386 h 2771"/>
                <a:gd name="T76" fmla="*/ 1636 w 2979"/>
                <a:gd name="T77" fmla="*/ 2660 h 2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79" h="2771">
                  <a:moveTo>
                    <a:pt x="2979" y="1386"/>
                  </a:moveTo>
                  <a:cubicBezTo>
                    <a:pt x="2979" y="610"/>
                    <a:pt x="2382" y="2"/>
                    <a:pt x="1619" y="2"/>
                  </a:cubicBezTo>
                  <a:cubicBezTo>
                    <a:pt x="1606" y="3"/>
                    <a:pt x="1586" y="2"/>
                    <a:pt x="1562" y="2"/>
                  </a:cubicBezTo>
                  <a:cubicBezTo>
                    <a:pt x="1446" y="1"/>
                    <a:pt x="1328" y="0"/>
                    <a:pt x="1279" y="6"/>
                  </a:cubicBezTo>
                  <a:cubicBezTo>
                    <a:pt x="545" y="38"/>
                    <a:pt x="0" y="620"/>
                    <a:pt x="0" y="1386"/>
                  </a:cubicBezTo>
                  <a:cubicBezTo>
                    <a:pt x="0" y="2162"/>
                    <a:pt x="604" y="2770"/>
                    <a:pt x="1375" y="2770"/>
                  </a:cubicBezTo>
                  <a:cubicBezTo>
                    <a:pt x="1390" y="2770"/>
                    <a:pt x="1408" y="2770"/>
                    <a:pt x="1429" y="2770"/>
                  </a:cubicBezTo>
                  <a:cubicBezTo>
                    <a:pt x="1456" y="2771"/>
                    <a:pt x="1486" y="2771"/>
                    <a:pt x="1516" y="2771"/>
                  </a:cubicBezTo>
                  <a:cubicBezTo>
                    <a:pt x="1563" y="2771"/>
                    <a:pt x="1608" y="2770"/>
                    <a:pt x="1639" y="2766"/>
                  </a:cubicBezTo>
                  <a:cubicBezTo>
                    <a:pt x="2403" y="2765"/>
                    <a:pt x="2979" y="2172"/>
                    <a:pt x="2979" y="1386"/>
                  </a:cubicBezTo>
                  <a:moveTo>
                    <a:pt x="106" y="1386"/>
                  </a:moveTo>
                  <a:cubicBezTo>
                    <a:pt x="106" y="659"/>
                    <a:pt x="638" y="111"/>
                    <a:pt x="1343" y="111"/>
                  </a:cubicBezTo>
                  <a:cubicBezTo>
                    <a:pt x="2028" y="111"/>
                    <a:pt x="2506" y="635"/>
                    <a:pt x="2506" y="1386"/>
                  </a:cubicBezTo>
                  <a:cubicBezTo>
                    <a:pt x="2504" y="1386"/>
                    <a:pt x="2504" y="1386"/>
                    <a:pt x="2504" y="1386"/>
                  </a:cubicBezTo>
                  <a:cubicBezTo>
                    <a:pt x="2504" y="1864"/>
                    <a:pt x="2196" y="2236"/>
                    <a:pt x="1768" y="2300"/>
                  </a:cubicBezTo>
                  <a:cubicBezTo>
                    <a:pt x="2022" y="2137"/>
                    <a:pt x="2232" y="1810"/>
                    <a:pt x="2244" y="1362"/>
                  </a:cubicBezTo>
                  <a:cubicBezTo>
                    <a:pt x="2252" y="1059"/>
                    <a:pt x="2158" y="791"/>
                    <a:pt x="1981" y="609"/>
                  </a:cubicBezTo>
                  <a:cubicBezTo>
                    <a:pt x="1819" y="443"/>
                    <a:pt x="1598" y="355"/>
                    <a:pt x="1343" y="355"/>
                  </a:cubicBezTo>
                  <a:cubicBezTo>
                    <a:pt x="1034" y="355"/>
                    <a:pt x="769" y="483"/>
                    <a:pt x="579" y="724"/>
                  </a:cubicBezTo>
                  <a:cubicBezTo>
                    <a:pt x="432" y="909"/>
                    <a:pt x="341" y="1164"/>
                    <a:pt x="341" y="1388"/>
                  </a:cubicBezTo>
                  <a:cubicBezTo>
                    <a:pt x="341" y="1941"/>
                    <a:pt x="602" y="2388"/>
                    <a:pt x="1011" y="2612"/>
                  </a:cubicBezTo>
                  <a:cubicBezTo>
                    <a:pt x="482" y="2458"/>
                    <a:pt x="106" y="1974"/>
                    <a:pt x="106" y="1386"/>
                  </a:cubicBezTo>
                  <a:moveTo>
                    <a:pt x="1453" y="468"/>
                  </a:moveTo>
                  <a:cubicBezTo>
                    <a:pt x="1632" y="489"/>
                    <a:pt x="1787" y="562"/>
                    <a:pt x="1904" y="683"/>
                  </a:cubicBezTo>
                  <a:cubicBezTo>
                    <a:pt x="2062" y="845"/>
                    <a:pt x="2145" y="1085"/>
                    <a:pt x="2138" y="1359"/>
                  </a:cubicBezTo>
                  <a:cubicBezTo>
                    <a:pt x="2127" y="1754"/>
                    <a:pt x="1901" y="2215"/>
                    <a:pt x="1500" y="2299"/>
                  </a:cubicBezTo>
                  <a:cubicBezTo>
                    <a:pt x="1091" y="2234"/>
                    <a:pt x="817" y="1877"/>
                    <a:pt x="817" y="1386"/>
                  </a:cubicBezTo>
                  <a:cubicBezTo>
                    <a:pt x="817" y="907"/>
                    <a:pt x="1066" y="548"/>
                    <a:pt x="1453" y="468"/>
                  </a:cubicBezTo>
                  <a:moveTo>
                    <a:pt x="1636" y="2660"/>
                  </a:moveTo>
                  <a:cubicBezTo>
                    <a:pt x="947" y="2660"/>
                    <a:pt x="448" y="2125"/>
                    <a:pt x="448" y="1388"/>
                  </a:cubicBezTo>
                  <a:cubicBezTo>
                    <a:pt x="448" y="1186"/>
                    <a:pt x="530" y="957"/>
                    <a:pt x="662" y="790"/>
                  </a:cubicBezTo>
                  <a:cubicBezTo>
                    <a:pt x="788" y="631"/>
                    <a:pt x="950" y="527"/>
                    <a:pt x="1138" y="484"/>
                  </a:cubicBezTo>
                  <a:cubicBezTo>
                    <a:pt x="871" y="659"/>
                    <a:pt x="710" y="985"/>
                    <a:pt x="710" y="1386"/>
                  </a:cubicBezTo>
                  <a:cubicBezTo>
                    <a:pt x="710" y="1992"/>
                    <a:pt x="1091" y="2416"/>
                    <a:pt x="1636" y="2416"/>
                  </a:cubicBezTo>
                  <a:cubicBezTo>
                    <a:pt x="2191" y="2416"/>
                    <a:pt x="2611" y="1973"/>
                    <a:pt x="2611" y="1386"/>
                  </a:cubicBezTo>
                  <a:cubicBezTo>
                    <a:pt x="2613" y="1386"/>
                    <a:pt x="2613" y="1386"/>
                    <a:pt x="2613" y="1386"/>
                  </a:cubicBezTo>
                  <a:cubicBezTo>
                    <a:pt x="2613" y="821"/>
                    <a:pt x="2347" y="367"/>
                    <a:pt x="1933" y="147"/>
                  </a:cubicBezTo>
                  <a:cubicBezTo>
                    <a:pt x="2479" y="286"/>
                    <a:pt x="2873" y="780"/>
                    <a:pt x="2873" y="1386"/>
                  </a:cubicBezTo>
                  <a:cubicBezTo>
                    <a:pt x="2873" y="2112"/>
                    <a:pt x="2341" y="2660"/>
                    <a:pt x="1636" y="26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2" name="Text Placeholder 21"/>
          <p:cNvSpPr>
            <a:spLocks noGrp="1"/>
          </p:cNvSpPr>
          <p:nvPr>
            <p:ph type="body" sz="quarter" idx="13" hasCustomPrompt="1"/>
          </p:nvPr>
        </p:nvSpPr>
        <p:spPr>
          <a:xfrm>
            <a:off x="438150" y="3086100"/>
            <a:ext cx="5667375" cy="838200"/>
          </a:xfrm>
        </p:spPr>
        <p:txBody>
          <a:bodyPr>
            <a:noAutofit/>
          </a:bodyPr>
          <a:lstStyle>
            <a:lvl1pPr marL="0" indent="0">
              <a:buFont typeface="Arial" panose="020B0604020202020204" pitchFamily="34" charset="0"/>
              <a:buNone/>
              <a:defRPr sz="1800" b="0">
                <a:solidFill>
                  <a:schemeClr val="bg1"/>
                </a:solidFill>
                <a:latin typeface="+mj-lt"/>
              </a:defRPr>
            </a:lvl1pPr>
            <a:lvl2pPr marL="0" indent="0">
              <a:buFont typeface="Arial" panose="020B0604020202020204" pitchFamily="34" charset="0"/>
              <a:buNone/>
              <a:defRPr sz="1400" b="0">
                <a:solidFill>
                  <a:schemeClr val="bg1"/>
                </a:solidFill>
                <a:latin typeface="+mn-lt"/>
              </a:defRPr>
            </a:lvl2pPr>
            <a:lvl3pPr marL="0" indent="0">
              <a:buNone/>
              <a:defRPr sz="1400" b="0">
                <a:solidFill>
                  <a:schemeClr val="bg1"/>
                </a:solidFill>
                <a:latin typeface="+mn-lt"/>
              </a:defRPr>
            </a:lvl3pPr>
            <a:lvl4pPr marL="0" indent="0">
              <a:buNone/>
              <a:defRPr sz="1400" b="0">
                <a:solidFill>
                  <a:schemeClr val="bg1"/>
                </a:solidFill>
                <a:latin typeface="+mn-lt"/>
              </a:defRPr>
            </a:lvl4pPr>
            <a:lvl5pPr marL="0" indent="0">
              <a:buNone/>
              <a:defRPr sz="1400" b="0">
                <a:solidFill>
                  <a:schemeClr val="bg1"/>
                </a:solidFill>
                <a:latin typeface="+mn-lt"/>
              </a:defRPr>
            </a:lvl5pPr>
          </a:lstStyle>
          <a:p>
            <a:pPr lvl="0"/>
            <a:r>
              <a:rPr lang="en-US" dirty="0"/>
              <a:t>Date</a:t>
            </a:r>
            <a:endParaRPr lang="en-GB" dirty="0"/>
          </a:p>
        </p:txBody>
      </p:sp>
    </p:spTree>
    <p:extLst>
      <p:ext uri="{BB962C8B-B14F-4D97-AF65-F5344CB8AC3E}">
        <p14:creationId xmlns:p14="http://schemas.microsoft.com/office/powerpoint/2010/main" val="10872609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inal Slide 2">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7" y="820"/>
            <a:ext cx="12190540" cy="6857178"/>
          </a:xfrm>
          <a:prstGeom prst="rect">
            <a:avLst/>
          </a:prstGeom>
        </p:spPr>
      </p:pic>
      <p:grpSp>
        <p:nvGrpSpPr>
          <p:cNvPr id="8" name="Group 7"/>
          <p:cNvGrpSpPr>
            <a:grpSpLocks noChangeAspect="1"/>
          </p:cNvGrpSpPr>
          <p:nvPr userDrawn="1"/>
        </p:nvGrpSpPr>
        <p:grpSpPr>
          <a:xfrm>
            <a:off x="438149" y="6230422"/>
            <a:ext cx="1476000" cy="196205"/>
            <a:chOff x="6905625" y="4194175"/>
            <a:chExt cx="3152775" cy="419100"/>
          </a:xfrm>
          <a:solidFill>
            <a:schemeClr val="bg1"/>
          </a:solidFill>
        </p:grpSpPr>
        <p:sp>
          <p:nvSpPr>
            <p:cNvPr id="9" name="Freeform 6"/>
            <p:cNvSpPr>
              <a:spLocks noEditPoints="1"/>
            </p:cNvSpPr>
            <p:nvPr userDrawn="1"/>
          </p:nvSpPr>
          <p:spPr bwMode="auto">
            <a:xfrm>
              <a:off x="7824788" y="4200525"/>
              <a:ext cx="295275" cy="406400"/>
            </a:xfrm>
            <a:custGeom>
              <a:avLst/>
              <a:gdLst>
                <a:gd name="T0" fmla="*/ 174 w 186"/>
                <a:gd name="T1" fmla="*/ 11 h 256"/>
                <a:gd name="T2" fmla="*/ 174 w 186"/>
                <a:gd name="T3" fmla="*/ 32 h 256"/>
                <a:gd name="T4" fmla="*/ 118 w 186"/>
                <a:gd name="T5" fmla="*/ 32 h 256"/>
                <a:gd name="T6" fmla="*/ 106 w 186"/>
                <a:gd name="T7" fmla="*/ 32 h 256"/>
                <a:gd name="T8" fmla="*/ 106 w 186"/>
                <a:gd name="T9" fmla="*/ 44 h 256"/>
                <a:gd name="T10" fmla="*/ 106 w 186"/>
                <a:gd name="T11" fmla="*/ 245 h 256"/>
                <a:gd name="T12" fmla="*/ 79 w 186"/>
                <a:gd name="T13" fmla="*/ 245 h 256"/>
                <a:gd name="T14" fmla="*/ 79 w 186"/>
                <a:gd name="T15" fmla="*/ 44 h 256"/>
                <a:gd name="T16" fmla="*/ 79 w 186"/>
                <a:gd name="T17" fmla="*/ 32 h 256"/>
                <a:gd name="T18" fmla="*/ 68 w 186"/>
                <a:gd name="T19" fmla="*/ 32 h 256"/>
                <a:gd name="T20" fmla="*/ 11 w 186"/>
                <a:gd name="T21" fmla="*/ 32 h 256"/>
                <a:gd name="T22" fmla="*/ 11 w 186"/>
                <a:gd name="T23" fmla="*/ 11 h 256"/>
                <a:gd name="T24" fmla="*/ 174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4" y="11"/>
                  </a:moveTo>
                  <a:lnTo>
                    <a:pt x="174" y="32"/>
                  </a:lnTo>
                  <a:lnTo>
                    <a:pt x="118" y="32"/>
                  </a:lnTo>
                  <a:lnTo>
                    <a:pt x="106" y="32"/>
                  </a:lnTo>
                  <a:lnTo>
                    <a:pt x="106" y="44"/>
                  </a:lnTo>
                  <a:lnTo>
                    <a:pt x="106" y="245"/>
                  </a:lnTo>
                  <a:lnTo>
                    <a:pt x="79" y="245"/>
                  </a:lnTo>
                  <a:lnTo>
                    <a:pt x="79" y="44"/>
                  </a:lnTo>
                  <a:lnTo>
                    <a:pt x="79" y="32"/>
                  </a:lnTo>
                  <a:lnTo>
                    <a:pt x="68" y="32"/>
                  </a:lnTo>
                  <a:lnTo>
                    <a:pt x="11" y="32"/>
                  </a:lnTo>
                  <a:lnTo>
                    <a:pt x="11" y="11"/>
                  </a:lnTo>
                  <a:lnTo>
                    <a:pt x="174"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9"/>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close/>
                  <a:moveTo>
                    <a:pt x="78" y="167"/>
                  </a:moveTo>
                  <a:lnTo>
                    <a:pt x="95" y="167"/>
                  </a:lnTo>
                  <a:lnTo>
                    <a:pt x="160" y="167"/>
                  </a:lnTo>
                  <a:lnTo>
                    <a:pt x="177" y="167"/>
                  </a:lnTo>
                  <a:lnTo>
                    <a:pt x="170" y="151"/>
                  </a:lnTo>
                  <a:lnTo>
                    <a:pt x="138" y="75"/>
                  </a:lnTo>
                  <a:lnTo>
                    <a:pt x="127" y="51"/>
                  </a:lnTo>
                  <a:lnTo>
                    <a:pt x="117" y="75"/>
                  </a:lnTo>
                  <a:lnTo>
                    <a:pt x="84" y="151"/>
                  </a:lnTo>
                  <a:lnTo>
                    <a:pt x="78" y="167"/>
                  </a:lnTo>
                  <a:close/>
                  <a:moveTo>
                    <a:pt x="145" y="0"/>
                  </a:moveTo>
                  <a:lnTo>
                    <a:pt x="110" y="0"/>
                  </a:lnTo>
                  <a:lnTo>
                    <a:pt x="0" y="256"/>
                  </a:lnTo>
                  <a:lnTo>
                    <a:pt x="52" y="256"/>
                  </a:lnTo>
                  <a:lnTo>
                    <a:pt x="76" y="199"/>
                  </a:lnTo>
                  <a:lnTo>
                    <a:pt x="179" y="199"/>
                  </a:lnTo>
                  <a:lnTo>
                    <a:pt x="203" y="256"/>
                  </a:lnTo>
                  <a:lnTo>
                    <a:pt x="255" y="256"/>
                  </a:lnTo>
                  <a:lnTo>
                    <a:pt x="145" y="0"/>
                  </a:lnTo>
                  <a:close/>
                  <a:moveTo>
                    <a:pt x="95" y="156"/>
                  </a:moveTo>
                  <a:lnTo>
                    <a:pt x="127" y="80"/>
                  </a:lnTo>
                  <a:lnTo>
                    <a:pt x="160" y="156"/>
                  </a:lnTo>
                  <a:lnTo>
                    <a:pt x="95"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5"/>
            <p:cNvSpPr>
              <a:spLocks noEditPoints="1"/>
            </p:cNvSpPr>
            <p:nvPr userDrawn="1"/>
          </p:nvSpPr>
          <p:spPr bwMode="auto">
            <a:xfrm>
              <a:off x="7410450" y="4200525"/>
              <a:ext cx="350838" cy="412750"/>
            </a:xfrm>
            <a:custGeom>
              <a:avLst/>
              <a:gdLst>
                <a:gd name="T0" fmla="*/ 2198 w 2316"/>
                <a:gd name="T1" fmla="*/ 117 h 2741"/>
                <a:gd name="T2" fmla="*/ 2198 w 2316"/>
                <a:gd name="T3" fmla="*/ 1563 h 2741"/>
                <a:gd name="T4" fmla="*/ 1890 w 2316"/>
                <a:gd name="T5" fmla="*/ 2375 h 2741"/>
                <a:gd name="T6" fmla="*/ 1158 w 2316"/>
                <a:gd name="T7" fmla="*/ 2624 h 2741"/>
                <a:gd name="T8" fmla="*/ 425 w 2316"/>
                <a:gd name="T9" fmla="*/ 2376 h 2741"/>
                <a:gd name="T10" fmla="*/ 117 w 2316"/>
                <a:gd name="T11" fmla="*/ 1563 h 2741"/>
                <a:gd name="T12" fmla="*/ 117 w 2316"/>
                <a:gd name="T13" fmla="*/ 117 h 2741"/>
                <a:gd name="T14" fmla="*/ 404 w 2316"/>
                <a:gd name="T15" fmla="*/ 117 h 2741"/>
                <a:gd name="T16" fmla="*/ 404 w 2316"/>
                <a:gd name="T17" fmla="*/ 1602 h 2741"/>
                <a:gd name="T18" fmla="*/ 618 w 2316"/>
                <a:gd name="T19" fmla="*/ 2189 h 2741"/>
                <a:gd name="T20" fmla="*/ 1158 w 2316"/>
                <a:gd name="T21" fmla="*/ 2395 h 2741"/>
                <a:gd name="T22" fmla="*/ 1698 w 2316"/>
                <a:gd name="T23" fmla="*/ 2189 h 2741"/>
                <a:gd name="T24" fmla="*/ 1912 w 2316"/>
                <a:gd name="T25" fmla="*/ 1602 h 2741"/>
                <a:gd name="T26" fmla="*/ 1912 w 2316"/>
                <a:gd name="T27" fmla="*/ 117 h 2741"/>
                <a:gd name="T28" fmla="*/ 2198 w 2316"/>
                <a:gd name="T29" fmla="*/ 117 h 2741"/>
                <a:gd name="T30" fmla="*/ 2316 w 2316"/>
                <a:gd name="T31" fmla="*/ 0 h 2741"/>
                <a:gd name="T32" fmla="*/ 1794 w 2316"/>
                <a:gd name="T33" fmla="*/ 0 h 2741"/>
                <a:gd name="T34" fmla="*/ 1794 w 2316"/>
                <a:gd name="T35" fmla="*/ 1602 h 2741"/>
                <a:gd name="T36" fmla="*/ 1617 w 2316"/>
                <a:gd name="T37" fmla="*/ 2104 h 2741"/>
                <a:gd name="T38" fmla="*/ 1158 w 2316"/>
                <a:gd name="T39" fmla="*/ 2277 h 2741"/>
                <a:gd name="T40" fmla="*/ 698 w 2316"/>
                <a:gd name="T41" fmla="*/ 2104 h 2741"/>
                <a:gd name="T42" fmla="*/ 521 w 2316"/>
                <a:gd name="T43" fmla="*/ 1602 h 2741"/>
                <a:gd name="T44" fmla="*/ 521 w 2316"/>
                <a:gd name="T45" fmla="*/ 0 h 2741"/>
                <a:gd name="T46" fmla="*/ 0 w 2316"/>
                <a:gd name="T47" fmla="*/ 0 h 2741"/>
                <a:gd name="T48" fmla="*/ 0 w 2316"/>
                <a:gd name="T49" fmla="*/ 1563 h 2741"/>
                <a:gd name="T50" fmla="*/ 347 w 2316"/>
                <a:gd name="T51" fmla="*/ 2463 h 2741"/>
                <a:gd name="T52" fmla="*/ 1158 w 2316"/>
                <a:gd name="T53" fmla="*/ 2741 h 2741"/>
                <a:gd name="T54" fmla="*/ 1968 w 2316"/>
                <a:gd name="T55" fmla="*/ 2463 h 2741"/>
                <a:gd name="T56" fmla="*/ 2316 w 2316"/>
                <a:gd name="T57" fmla="*/ 1563 h 2741"/>
                <a:gd name="T58" fmla="*/ 2316 w 2316"/>
                <a:gd name="T59" fmla="*/ 0 h 2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6" h="2741">
                  <a:moveTo>
                    <a:pt x="2198" y="117"/>
                  </a:moveTo>
                  <a:cubicBezTo>
                    <a:pt x="2198" y="1563"/>
                    <a:pt x="2198" y="1563"/>
                    <a:pt x="2198" y="1563"/>
                  </a:cubicBezTo>
                  <a:cubicBezTo>
                    <a:pt x="2198" y="1924"/>
                    <a:pt x="2098" y="2189"/>
                    <a:pt x="1890" y="2375"/>
                  </a:cubicBezTo>
                  <a:cubicBezTo>
                    <a:pt x="1713" y="2533"/>
                    <a:pt x="1446" y="2624"/>
                    <a:pt x="1158" y="2624"/>
                  </a:cubicBezTo>
                  <a:cubicBezTo>
                    <a:pt x="870" y="2624"/>
                    <a:pt x="602" y="2533"/>
                    <a:pt x="425" y="2376"/>
                  </a:cubicBezTo>
                  <a:cubicBezTo>
                    <a:pt x="218" y="2190"/>
                    <a:pt x="117" y="1924"/>
                    <a:pt x="117" y="1563"/>
                  </a:cubicBezTo>
                  <a:cubicBezTo>
                    <a:pt x="117" y="117"/>
                    <a:pt x="117" y="117"/>
                    <a:pt x="117" y="117"/>
                  </a:cubicBezTo>
                  <a:cubicBezTo>
                    <a:pt x="404" y="117"/>
                    <a:pt x="404" y="117"/>
                    <a:pt x="404" y="117"/>
                  </a:cubicBezTo>
                  <a:cubicBezTo>
                    <a:pt x="404" y="1602"/>
                    <a:pt x="404" y="1602"/>
                    <a:pt x="404" y="1602"/>
                  </a:cubicBezTo>
                  <a:cubicBezTo>
                    <a:pt x="404" y="1866"/>
                    <a:pt x="472" y="2052"/>
                    <a:pt x="618" y="2189"/>
                  </a:cubicBezTo>
                  <a:cubicBezTo>
                    <a:pt x="756" y="2321"/>
                    <a:pt x="947" y="2395"/>
                    <a:pt x="1158" y="2395"/>
                  </a:cubicBezTo>
                  <a:cubicBezTo>
                    <a:pt x="1368" y="2395"/>
                    <a:pt x="1560" y="2321"/>
                    <a:pt x="1698" y="2189"/>
                  </a:cubicBezTo>
                  <a:cubicBezTo>
                    <a:pt x="1844" y="2052"/>
                    <a:pt x="1912" y="1866"/>
                    <a:pt x="1912" y="1602"/>
                  </a:cubicBezTo>
                  <a:cubicBezTo>
                    <a:pt x="1912" y="117"/>
                    <a:pt x="1912" y="117"/>
                    <a:pt x="1912" y="117"/>
                  </a:cubicBezTo>
                  <a:cubicBezTo>
                    <a:pt x="2198" y="117"/>
                    <a:pt x="2198" y="117"/>
                    <a:pt x="2198" y="117"/>
                  </a:cubicBezTo>
                  <a:moveTo>
                    <a:pt x="2316" y="0"/>
                  </a:moveTo>
                  <a:cubicBezTo>
                    <a:pt x="1794" y="0"/>
                    <a:pt x="1794" y="0"/>
                    <a:pt x="1794" y="0"/>
                  </a:cubicBezTo>
                  <a:cubicBezTo>
                    <a:pt x="1794" y="1602"/>
                    <a:pt x="1794" y="1602"/>
                    <a:pt x="1794" y="1602"/>
                  </a:cubicBezTo>
                  <a:cubicBezTo>
                    <a:pt x="1794" y="1849"/>
                    <a:pt x="1729" y="2000"/>
                    <a:pt x="1617" y="2104"/>
                  </a:cubicBezTo>
                  <a:cubicBezTo>
                    <a:pt x="1501" y="2216"/>
                    <a:pt x="1339" y="2277"/>
                    <a:pt x="1158" y="2277"/>
                  </a:cubicBezTo>
                  <a:cubicBezTo>
                    <a:pt x="976" y="2277"/>
                    <a:pt x="814" y="2216"/>
                    <a:pt x="698" y="2104"/>
                  </a:cubicBezTo>
                  <a:cubicBezTo>
                    <a:pt x="586" y="2000"/>
                    <a:pt x="521" y="1849"/>
                    <a:pt x="521" y="1602"/>
                  </a:cubicBezTo>
                  <a:cubicBezTo>
                    <a:pt x="521" y="0"/>
                    <a:pt x="521" y="0"/>
                    <a:pt x="521" y="0"/>
                  </a:cubicBezTo>
                  <a:cubicBezTo>
                    <a:pt x="0" y="0"/>
                    <a:pt x="0" y="0"/>
                    <a:pt x="0" y="0"/>
                  </a:cubicBezTo>
                  <a:cubicBezTo>
                    <a:pt x="0" y="1563"/>
                    <a:pt x="0" y="1563"/>
                    <a:pt x="0" y="1563"/>
                  </a:cubicBezTo>
                  <a:cubicBezTo>
                    <a:pt x="0" y="1976"/>
                    <a:pt x="123" y="2262"/>
                    <a:pt x="347" y="2463"/>
                  </a:cubicBezTo>
                  <a:cubicBezTo>
                    <a:pt x="556" y="2648"/>
                    <a:pt x="853" y="2741"/>
                    <a:pt x="1158" y="2741"/>
                  </a:cubicBezTo>
                  <a:cubicBezTo>
                    <a:pt x="1463" y="2741"/>
                    <a:pt x="1760" y="2648"/>
                    <a:pt x="1968" y="2463"/>
                  </a:cubicBezTo>
                  <a:cubicBezTo>
                    <a:pt x="2192" y="2262"/>
                    <a:pt x="2316" y="1976"/>
                    <a:pt x="2316" y="1563"/>
                  </a:cubicBezTo>
                  <a:lnTo>
                    <a:pt x="2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noEditPoints="1"/>
            </p:cNvSpPr>
            <p:nvPr userDrawn="1"/>
          </p:nvSpPr>
          <p:spPr bwMode="auto">
            <a:xfrm>
              <a:off x="8145463" y="4194175"/>
              <a:ext cx="285750" cy="419100"/>
            </a:xfrm>
            <a:custGeom>
              <a:avLst/>
              <a:gdLst>
                <a:gd name="T0" fmla="*/ 1016 w 1892"/>
                <a:gd name="T1" fmla="*/ 117 h 2779"/>
                <a:gd name="T2" fmla="*/ 1635 w 1892"/>
                <a:gd name="T3" fmla="*/ 284 h 2779"/>
                <a:gd name="T4" fmla="*/ 1502 w 1892"/>
                <a:gd name="T5" fmla="*/ 474 h 2779"/>
                <a:gd name="T6" fmla="*/ 1062 w 1892"/>
                <a:gd name="T7" fmla="*/ 346 h 2779"/>
                <a:gd name="T8" fmla="*/ 528 w 1892"/>
                <a:gd name="T9" fmla="*/ 756 h 2779"/>
                <a:gd name="T10" fmla="*/ 1057 w 1892"/>
                <a:gd name="T11" fmla="*/ 1224 h 2779"/>
                <a:gd name="T12" fmla="*/ 1775 w 1892"/>
                <a:gd name="T13" fmla="*/ 1968 h 2779"/>
                <a:gd name="T14" fmla="*/ 977 w 1892"/>
                <a:gd name="T15" fmla="*/ 2662 h 2779"/>
                <a:gd name="T16" fmla="*/ 171 w 1892"/>
                <a:gd name="T17" fmla="*/ 2365 h 2779"/>
                <a:gd name="T18" fmla="*/ 343 w 1892"/>
                <a:gd name="T19" fmla="*/ 2185 h 2779"/>
                <a:gd name="T20" fmla="*/ 977 w 1892"/>
                <a:gd name="T21" fmla="*/ 2433 h 2779"/>
                <a:gd name="T22" fmla="*/ 1488 w 1892"/>
                <a:gd name="T23" fmla="*/ 1976 h 2779"/>
                <a:gd name="T24" fmla="*/ 906 w 1892"/>
                <a:gd name="T25" fmla="*/ 1427 h 2779"/>
                <a:gd name="T26" fmla="*/ 565 w 1892"/>
                <a:gd name="T27" fmla="*/ 1272 h 2779"/>
                <a:gd name="T28" fmla="*/ 241 w 1892"/>
                <a:gd name="T29" fmla="*/ 760 h 2779"/>
                <a:gd name="T30" fmla="*/ 1016 w 1892"/>
                <a:gd name="T31" fmla="*/ 117 h 2779"/>
                <a:gd name="T32" fmla="*/ 1016 w 1892"/>
                <a:gd name="T33" fmla="*/ 0 h 2779"/>
                <a:gd name="T34" fmla="*/ 124 w 1892"/>
                <a:gd name="T35" fmla="*/ 760 h 2779"/>
                <a:gd name="T36" fmla="*/ 506 w 1892"/>
                <a:gd name="T37" fmla="*/ 1374 h 2779"/>
                <a:gd name="T38" fmla="*/ 1371 w 1892"/>
                <a:gd name="T39" fmla="*/ 1976 h 2779"/>
                <a:gd name="T40" fmla="*/ 977 w 1892"/>
                <a:gd name="T41" fmla="*/ 2315 h 2779"/>
                <a:gd name="T42" fmla="*/ 340 w 1892"/>
                <a:gd name="T43" fmla="*/ 2018 h 2779"/>
                <a:gd name="T44" fmla="*/ 0 w 1892"/>
                <a:gd name="T45" fmla="*/ 2373 h 2779"/>
                <a:gd name="T46" fmla="*/ 977 w 1892"/>
                <a:gd name="T47" fmla="*/ 2779 h 2779"/>
                <a:gd name="T48" fmla="*/ 1892 w 1892"/>
                <a:gd name="T49" fmla="*/ 1968 h 2779"/>
                <a:gd name="T50" fmla="*/ 645 w 1892"/>
                <a:gd name="T51" fmla="*/ 756 h 2779"/>
                <a:gd name="T52" fmla="*/ 1062 w 1892"/>
                <a:gd name="T53" fmla="*/ 463 h 2779"/>
                <a:gd name="T54" fmla="*/ 1529 w 1892"/>
                <a:gd name="T55" fmla="*/ 640 h 2779"/>
                <a:gd name="T56" fmla="*/ 1799 w 1892"/>
                <a:gd name="T57" fmla="*/ 254 h 2779"/>
                <a:gd name="T58" fmla="*/ 1016 w 1892"/>
                <a:gd name="T59" fmla="*/ 0 h 2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92" h="2779">
                  <a:moveTo>
                    <a:pt x="1016" y="117"/>
                  </a:moveTo>
                  <a:cubicBezTo>
                    <a:pt x="1253" y="117"/>
                    <a:pt x="1449" y="169"/>
                    <a:pt x="1635" y="284"/>
                  </a:cubicBezTo>
                  <a:cubicBezTo>
                    <a:pt x="1502" y="474"/>
                    <a:pt x="1502" y="474"/>
                    <a:pt x="1502" y="474"/>
                  </a:cubicBezTo>
                  <a:cubicBezTo>
                    <a:pt x="1374" y="394"/>
                    <a:pt x="1212" y="346"/>
                    <a:pt x="1062" y="346"/>
                  </a:cubicBezTo>
                  <a:cubicBezTo>
                    <a:pt x="748" y="346"/>
                    <a:pt x="528" y="515"/>
                    <a:pt x="528" y="756"/>
                  </a:cubicBezTo>
                  <a:cubicBezTo>
                    <a:pt x="528" y="1014"/>
                    <a:pt x="785" y="1116"/>
                    <a:pt x="1057" y="1224"/>
                  </a:cubicBezTo>
                  <a:cubicBezTo>
                    <a:pt x="1410" y="1364"/>
                    <a:pt x="1775" y="1509"/>
                    <a:pt x="1775" y="1968"/>
                  </a:cubicBezTo>
                  <a:cubicBezTo>
                    <a:pt x="1775" y="2402"/>
                    <a:pt x="1369" y="2662"/>
                    <a:pt x="977" y="2662"/>
                  </a:cubicBezTo>
                  <a:cubicBezTo>
                    <a:pt x="693" y="2662"/>
                    <a:pt x="416" y="2559"/>
                    <a:pt x="171" y="2365"/>
                  </a:cubicBezTo>
                  <a:cubicBezTo>
                    <a:pt x="343" y="2185"/>
                    <a:pt x="343" y="2185"/>
                    <a:pt x="343" y="2185"/>
                  </a:cubicBezTo>
                  <a:cubicBezTo>
                    <a:pt x="524" y="2341"/>
                    <a:pt x="754" y="2433"/>
                    <a:pt x="977" y="2433"/>
                  </a:cubicBezTo>
                  <a:cubicBezTo>
                    <a:pt x="1273" y="2433"/>
                    <a:pt x="1488" y="2240"/>
                    <a:pt x="1488" y="1976"/>
                  </a:cubicBezTo>
                  <a:cubicBezTo>
                    <a:pt x="1488" y="1656"/>
                    <a:pt x="1192" y="1539"/>
                    <a:pt x="906" y="1427"/>
                  </a:cubicBezTo>
                  <a:cubicBezTo>
                    <a:pt x="790" y="1381"/>
                    <a:pt x="669" y="1334"/>
                    <a:pt x="565" y="1272"/>
                  </a:cubicBezTo>
                  <a:cubicBezTo>
                    <a:pt x="344" y="1144"/>
                    <a:pt x="241" y="981"/>
                    <a:pt x="241" y="760"/>
                  </a:cubicBezTo>
                  <a:cubicBezTo>
                    <a:pt x="241" y="342"/>
                    <a:pt x="640" y="117"/>
                    <a:pt x="1016" y="117"/>
                  </a:cubicBezTo>
                  <a:moveTo>
                    <a:pt x="1016" y="0"/>
                  </a:moveTo>
                  <a:cubicBezTo>
                    <a:pt x="568" y="0"/>
                    <a:pt x="124" y="278"/>
                    <a:pt x="124" y="760"/>
                  </a:cubicBezTo>
                  <a:cubicBezTo>
                    <a:pt x="124" y="1065"/>
                    <a:pt x="294" y="1250"/>
                    <a:pt x="506" y="1374"/>
                  </a:cubicBezTo>
                  <a:cubicBezTo>
                    <a:pt x="869" y="1586"/>
                    <a:pt x="1371" y="1628"/>
                    <a:pt x="1371" y="1976"/>
                  </a:cubicBezTo>
                  <a:cubicBezTo>
                    <a:pt x="1371" y="2173"/>
                    <a:pt x="1209" y="2315"/>
                    <a:pt x="977" y="2315"/>
                  </a:cubicBezTo>
                  <a:cubicBezTo>
                    <a:pt x="730" y="2315"/>
                    <a:pt x="494" y="2188"/>
                    <a:pt x="340" y="2018"/>
                  </a:cubicBezTo>
                  <a:cubicBezTo>
                    <a:pt x="0" y="2373"/>
                    <a:pt x="0" y="2373"/>
                    <a:pt x="0" y="2373"/>
                  </a:cubicBezTo>
                  <a:cubicBezTo>
                    <a:pt x="278" y="2628"/>
                    <a:pt x="614" y="2779"/>
                    <a:pt x="977" y="2779"/>
                  </a:cubicBezTo>
                  <a:cubicBezTo>
                    <a:pt x="1463" y="2779"/>
                    <a:pt x="1892" y="2447"/>
                    <a:pt x="1892" y="1968"/>
                  </a:cubicBezTo>
                  <a:cubicBezTo>
                    <a:pt x="1892" y="1057"/>
                    <a:pt x="645" y="1192"/>
                    <a:pt x="645" y="756"/>
                  </a:cubicBezTo>
                  <a:cubicBezTo>
                    <a:pt x="645" y="548"/>
                    <a:pt x="865" y="463"/>
                    <a:pt x="1062" y="463"/>
                  </a:cubicBezTo>
                  <a:cubicBezTo>
                    <a:pt x="1239" y="463"/>
                    <a:pt x="1421" y="540"/>
                    <a:pt x="1529" y="640"/>
                  </a:cubicBezTo>
                  <a:cubicBezTo>
                    <a:pt x="1799" y="254"/>
                    <a:pt x="1799" y="254"/>
                    <a:pt x="1799" y="254"/>
                  </a:cubicBezTo>
                  <a:cubicBezTo>
                    <a:pt x="1544" y="65"/>
                    <a:pt x="1290" y="0"/>
                    <a:pt x="10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8497888" y="4200525"/>
              <a:ext cx="407988" cy="406400"/>
            </a:xfrm>
            <a:custGeom>
              <a:avLst/>
              <a:gdLst>
                <a:gd name="T0" fmla="*/ 246 w 257"/>
                <a:gd name="T1" fmla="*/ 11 h 256"/>
                <a:gd name="T2" fmla="*/ 246 w 257"/>
                <a:gd name="T3" fmla="*/ 245 h 256"/>
                <a:gd name="T4" fmla="*/ 219 w 257"/>
                <a:gd name="T5" fmla="*/ 245 h 256"/>
                <a:gd name="T6" fmla="*/ 219 w 257"/>
                <a:gd name="T7" fmla="*/ 113 h 256"/>
                <a:gd name="T8" fmla="*/ 219 w 257"/>
                <a:gd name="T9" fmla="*/ 74 h 256"/>
                <a:gd name="T10" fmla="*/ 198 w 257"/>
                <a:gd name="T11" fmla="*/ 108 h 256"/>
                <a:gd name="T12" fmla="*/ 140 w 257"/>
                <a:gd name="T13" fmla="*/ 203 h 256"/>
                <a:gd name="T14" fmla="*/ 118 w 257"/>
                <a:gd name="T15" fmla="*/ 203 h 256"/>
                <a:gd name="T16" fmla="*/ 59 w 257"/>
                <a:gd name="T17" fmla="*/ 108 h 256"/>
                <a:gd name="T18" fmla="*/ 39 w 257"/>
                <a:gd name="T19" fmla="*/ 74 h 256"/>
                <a:gd name="T20" fmla="*/ 39 w 257"/>
                <a:gd name="T21" fmla="*/ 113 h 256"/>
                <a:gd name="T22" fmla="*/ 39 w 257"/>
                <a:gd name="T23" fmla="*/ 245 h 256"/>
                <a:gd name="T24" fmla="*/ 11 w 257"/>
                <a:gd name="T25" fmla="*/ 245 h 256"/>
                <a:gd name="T26" fmla="*/ 11 w 257"/>
                <a:gd name="T27" fmla="*/ 11 h 256"/>
                <a:gd name="T28" fmla="*/ 29 w 257"/>
                <a:gd name="T29" fmla="*/ 11 h 256"/>
                <a:gd name="T30" fmla="*/ 119 w 257"/>
                <a:gd name="T31" fmla="*/ 159 h 256"/>
                <a:gd name="T32" fmla="*/ 129 w 257"/>
                <a:gd name="T33" fmla="*/ 175 h 256"/>
                <a:gd name="T34" fmla="*/ 138 w 257"/>
                <a:gd name="T35" fmla="*/ 159 h 256"/>
                <a:gd name="T36" fmla="*/ 229 w 257"/>
                <a:gd name="T37" fmla="*/ 11 h 256"/>
                <a:gd name="T38" fmla="*/ 246 w 257"/>
                <a:gd name="T39" fmla="*/ 11 h 256"/>
                <a:gd name="T40" fmla="*/ 257 w 257"/>
                <a:gd name="T41" fmla="*/ 0 h 256"/>
                <a:gd name="T42" fmla="*/ 223 w 257"/>
                <a:gd name="T43" fmla="*/ 0 h 256"/>
                <a:gd name="T44" fmla="*/ 129 w 257"/>
                <a:gd name="T45" fmla="*/ 153 h 256"/>
                <a:gd name="T46" fmla="*/ 35 w 257"/>
                <a:gd name="T47" fmla="*/ 0 h 256"/>
                <a:gd name="T48" fmla="*/ 0 w 257"/>
                <a:gd name="T49" fmla="*/ 0 h 256"/>
                <a:gd name="T50" fmla="*/ 0 w 257"/>
                <a:gd name="T51" fmla="*/ 256 h 256"/>
                <a:gd name="T52" fmla="*/ 50 w 257"/>
                <a:gd name="T53" fmla="*/ 256 h 256"/>
                <a:gd name="T54" fmla="*/ 50 w 257"/>
                <a:gd name="T55" fmla="*/ 113 h 256"/>
                <a:gd name="T56" fmla="*/ 112 w 257"/>
                <a:gd name="T57" fmla="*/ 214 h 256"/>
                <a:gd name="T58" fmla="*/ 146 w 257"/>
                <a:gd name="T59" fmla="*/ 214 h 256"/>
                <a:gd name="T60" fmla="*/ 208 w 257"/>
                <a:gd name="T61" fmla="*/ 113 h 256"/>
                <a:gd name="T62" fmla="*/ 208 w 257"/>
                <a:gd name="T63" fmla="*/ 256 h 256"/>
                <a:gd name="T64" fmla="*/ 257 w 257"/>
                <a:gd name="T65" fmla="*/ 256 h 256"/>
                <a:gd name="T66" fmla="*/ 257 w 257"/>
                <a:gd name="T6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56">
                  <a:moveTo>
                    <a:pt x="246" y="11"/>
                  </a:moveTo>
                  <a:lnTo>
                    <a:pt x="246" y="245"/>
                  </a:lnTo>
                  <a:lnTo>
                    <a:pt x="219" y="245"/>
                  </a:lnTo>
                  <a:lnTo>
                    <a:pt x="219" y="113"/>
                  </a:lnTo>
                  <a:lnTo>
                    <a:pt x="219" y="74"/>
                  </a:lnTo>
                  <a:lnTo>
                    <a:pt x="198" y="108"/>
                  </a:lnTo>
                  <a:lnTo>
                    <a:pt x="140" y="203"/>
                  </a:lnTo>
                  <a:lnTo>
                    <a:pt x="118" y="203"/>
                  </a:lnTo>
                  <a:lnTo>
                    <a:pt x="59" y="108"/>
                  </a:lnTo>
                  <a:lnTo>
                    <a:pt x="39" y="74"/>
                  </a:lnTo>
                  <a:lnTo>
                    <a:pt x="39" y="113"/>
                  </a:lnTo>
                  <a:lnTo>
                    <a:pt x="39" y="245"/>
                  </a:lnTo>
                  <a:lnTo>
                    <a:pt x="11" y="245"/>
                  </a:lnTo>
                  <a:lnTo>
                    <a:pt x="11" y="11"/>
                  </a:lnTo>
                  <a:lnTo>
                    <a:pt x="29" y="11"/>
                  </a:lnTo>
                  <a:lnTo>
                    <a:pt x="119" y="159"/>
                  </a:lnTo>
                  <a:lnTo>
                    <a:pt x="129" y="175"/>
                  </a:lnTo>
                  <a:lnTo>
                    <a:pt x="138" y="159"/>
                  </a:lnTo>
                  <a:lnTo>
                    <a:pt x="229" y="11"/>
                  </a:lnTo>
                  <a:lnTo>
                    <a:pt x="246" y="11"/>
                  </a:lnTo>
                  <a:close/>
                  <a:moveTo>
                    <a:pt x="257" y="0"/>
                  </a:moveTo>
                  <a:lnTo>
                    <a:pt x="223" y="0"/>
                  </a:lnTo>
                  <a:lnTo>
                    <a:pt x="129" y="153"/>
                  </a:lnTo>
                  <a:lnTo>
                    <a:pt x="35" y="0"/>
                  </a:lnTo>
                  <a:lnTo>
                    <a:pt x="0" y="0"/>
                  </a:lnTo>
                  <a:lnTo>
                    <a:pt x="0" y="256"/>
                  </a:lnTo>
                  <a:lnTo>
                    <a:pt x="50" y="256"/>
                  </a:lnTo>
                  <a:lnTo>
                    <a:pt x="50" y="113"/>
                  </a:lnTo>
                  <a:lnTo>
                    <a:pt x="112" y="214"/>
                  </a:lnTo>
                  <a:lnTo>
                    <a:pt x="146" y="214"/>
                  </a:lnTo>
                  <a:lnTo>
                    <a:pt x="208" y="113"/>
                  </a:lnTo>
                  <a:lnTo>
                    <a:pt x="208" y="256"/>
                  </a:lnTo>
                  <a:lnTo>
                    <a:pt x="257" y="256"/>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0"/>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moveTo>
                    <a:pt x="78" y="167"/>
                  </a:moveTo>
                  <a:lnTo>
                    <a:pt x="95" y="167"/>
                  </a:lnTo>
                  <a:lnTo>
                    <a:pt x="160" y="167"/>
                  </a:lnTo>
                  <a:lnTo>
                    <a:pt x="177" y="167"/>
                  </a:lnTo>
                  <a:lnTo>
                    <a:pt x="170" y="151"/>
                  </a:lnTo>
                  <a:lnTo>
                    <a:pt x="138" y="75"/>
                  </a:lnTo>
                  <a:lnTo>
                    <a:pt x="127" y="51"/>
                  </a:lnTo>
                  <a:lnTo>
                    <a:pt x="117" y="75"/>
                  </a:lnTo>
                  <a:lnTo>
                    <a:pt x="84" y="151"/>
                  </a:lnTo>
                  <a:lnTo>
                    <a:pt x="78" y="167"/>
                  </a:lnTo>
                  <a:moveTo>
                    <a:pt x="145" y="0"/>
                  </a:moveTo>
                  <a:lnTo>
                    <a:pt x="110" y="0"/>
                  </a:lnTo>
                  <a:lnTo>
                    <a:pt x="0" y="256"/>
                  </a:lnTo>
                  <a:lnTo>
                    <a:pt x="52" y="256"/>
                  </a:lnTo>
                  <a:lnTo>
                    <a:pt x="76" y="199"/>
                  </a:lnTo>
                  <a:lnTo>
                    <a:pt x="179" y="199"/>
                  </a:lnTo>
                  <a:lnTo>
                    <a:pt x="203" y="256"/>
                  </a:lnTo>
                  <a:lnTo>
                    <a:pt x="255" y="256"/>
                  </a:lnTo>
                  <a:lnTo>
                    <a:pt x="145" y="0"/>
                  </a:lnTo>
                  <a:moveTo>
                    <a:pt x="95" y="156"/>
                  </a:moveTo>
                  <a:lnTo>
                    <a:pt x="127" y="80"/>
                  </a:lnTo>
                  <a:lnTo>
                    <a:pt x="160" y="156"/>
                  </a:lnTo>
                  <a:lnTo>
                    <a:pt x="95" y="1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1"/>
            <p:cNvSpPr>
              <a:spLocks noEditPoints="1"/>
            </p:cNvSpPr>
            <p:nvPr userDrawn="1"/>
          </p:nvSpPr>
          <p:spPr bwMode="auto">
            <a:xfrm>
              <a:off x="9763125" y="4200525"/>
              <a:ext cx="295275" cy="406400"/>
            </a:xfrm>
            <a:custGeom>
              <a:avLst/>
              <a:gdLst>
                <a:gd name="T0" fmla="*/ 175 w 186"/>
                <a:gd name="T1" fmla="*/ 11 h 256"/>
                <a:gd name="T2" fmla="*/ 175 w 186"/>
                <a:gd name="T3" fmla="*/ 32 h 256"/>
                <a:gd name="T4" fmla="*/ 118 w 186"/>
                <a:gd name="T5" fmla="*/ 32 h 256"/>
                <a:gd name="T6" fmla="*/ 107 w 186"/>
                <a:gd name="T7" fmla="*/ 32 h 256"/>
                <a:gd name="T8" fmla="*/ 107 w 186"/>
                <a:gd name="T9" fmla="*/ 44 h 256"/>
                <a:gd name="T10" fmla="*/ 107 w 186"/>
                <a:gd name="T11" fmla="*/ 245 h 256"/>
                <a:gd name="T12" fmla="*/ 80 w 186"/>
                <a:gd name="T13" fmla="*/ 245 h 256"/>
                <a:gd name="T14" fmla="*/ 80 w 186"/>
                <a:gd name="T15" fmla="*/ 44 h 256"/>
                <a:gd name="T16" fmla="*/ 80 w 186"/>
                <a:gd name="T17" fmla="*/ 32 h 256"/>
                <a:gd name="T18" fmla="*/ 68 w 186"/>
                <a:gd name="T19" fmla="*/ 32 h 256"/>
                <a:gd name="T20" fmla="*/ 12 w 186"/>
                <a:gd name="T21" fmla="*/ 32 h 256"/>
                <a:gd name="T22" fmla="*/ 12 w 186"/>
                <a:gd name="T23" fmla="*/ 11 h 256"/>
                <a:gd name="T24" fmla="*/ 175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5" y="11"/>
                  </a:moveTo>
                  <a:lnTo>
                    <a:pt x="175" y="32"/>
                  </a:lnTo>
                  <a:lnTo>
                    <a:pt x="118" y="32"/>
                  </a:lnTo>
                  <a:lnTo>
                    <a:pt x="107" y="32"/>
                  </a:lnTo>
                  <a:lnTo>
                    <a:pt x="107" y="44"/>
                  </a:lnTo>
                  <a:lnTo>
                    <a:pt x="107" y="245"/>
                  </a:lnTo>
                  <a:lnTo>
                    <a:pt x="80" y="245"/>
                  </a:lnTo>
                  <a:lnTo>
                    <a:pt x="80" y="44"/>
                  </a:lnTo>
                  <a:lnTo>
                    <a:pt x="80" y="32"/>
                  </a:lnTo>
                  <a:lnTo>
                    <a:pt x="68" y="32"/>
                  </a:lnTo>
                  <a:lnTo>
                    <a:pt x="12" y="32"/>
                  </a:lnTo>
                  <a:lnTo>
                    <a:pt x="12" y="11"/>
                  </a:lnTo>
                  <a:lnTo>
                    <a:pt x="175"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9407525" y="4198938"/>
              <a:ext cx="338138" cy="407988"/>
            </a:xfrm>
            <a:custGeom>
              <a:avLst/>
              <a:gdLst>
                <a:gd name="T0" fmla="*/ 1027 w 2239"/>
                <a:gd name="T1" fmla="*/ 113 h 2704"/>
                <a:gd name="T2" fmla="*/ 1731 w 2239"/>
                <a:gd name="T3" fmla="*/ 361 h 2704"/>
                <a:gd name="T4" fmla="*/ 1923 w 2239"/>
                <a:gd name="T5" fmla="*/ 849 h 2704"/>
                <a:gd name="T6" fmla="*/ 1923 w 2239"/>
                <a:gd name="T7" fmla="*/ 856 h 2704"/>
                <a:gd name="T8" fmla="*/ 1250 w 2239"/>
                <a:gd name="T9" fmla="*/ 1578 h 2704"/>
                <a:gd name="T10" fmla="*/ 2011 w 2239"/>
                <a:gd name="T11" fmla="*/ 2590 h 2704"/>
                <a:gd name="T12" fmla="*/ 1668 w 2239"/>
                <a:gd name="T13" fmla="*/ 2590 h 2704"/>
                <a:gd name="T14" fmla="*/ 949 w 2239"/>
                <a:gd name="T15" fmla="*/ 1628 h 2704"/>
                <a:gd name="T16" fmla="*/ 393 w 2239"/>
                <a:gd name="T17" fmla="*/ 1628 h 2704"/>
                <a:gd name="T18" fmla="*/ 393 w 2239"/>
                <a:gd name="T19" fmla="*/ 2590 h 2704"/>
                <a:gd name="T20" fmla="*/ 114 w 2239"/>
                <a:gd name="T21" fmla="*/ 2590 h 2704"/>
                <a:gd name="T22" fmla="*/ 114 w 2239"/>
                <a:gd name="T23" fmla="*/ 113 h 2704"/>
                <a:gd name="T24" fmla="*/ 1027 w 2239"/>
                <a:gd name="T25" fmla="*/ 113 h 2704"/>
                <a:gd name="T26" fmla="*/ 393 w 2239"/>
                <a:gd name="T27" fmla="*/ 1377 h 2704"/>
                <a:gd name="T28" fmla="*/ 1003 w 2239"/>
                <a:gd name="T29" fmla="*/ 1377 h 2704"/>
                <a:gd name="T30" fmla="*/ 1639 w 2239"/>
                <a:gd name="T31" fmla="*/ 867 h 2704"/>
                <a:gd name="T32" fmla="*/ 1639 w 2239"/>
                <a:gd name="T33" fmla="*/ 860 h 2704"/>
                <a:gd name="T34" fmla="*/ 1006 w 2239"/>
                <a:gd name="T35" fmla="*/ 372 h 2704"/>
                <a:gd name="T36" fmla="*/ 393 w 2239"/>
                <a:gd name="T37" fmla="*/ 372 h 2704"/>
                <a:gd name="T38" fmla="*/ 393 w 2239"/>
                <a:gd name="T39" fmla="*/ 1377 h 2704"/>
                <a:gd name="T40" fmla="*/ 1027 w 2239"/>
                <a:gd name="T41" fmla="*/ 0 h 2704"/>
                <a:gd name="T42" fmla="*/ 114 w 2239"/>
                <a:gd name="T43" fmla="*/ 0 h 2704"/>
                <a:gd name="T44" fmla="*/ 0 w 2239"/>
                <a:gd name="T45" fmla="*/ 0 h 2704"/>
                <a:gd name="T46" fmla="*/ 0 w 2239"/>
                <a:gd name="T47" fmla="*/ 113 h 2704"/>
                <a:gd name="T48" fmla="*/ 0 w 2239"/>
                <a:gd name="T49" fmla="*/ 2590 h 2704"/>
                <a:gd name="T50" fmla="*/ 0 w 2239"/>
                <a:gd name="T51" fmla="*/ 2704 h 2704"/>
                <a:gd name="T52" fmla="*/ 114 w 2239"/>
                <a:gd name="T53" fmla="*/ 2704 h 2704"/>
                <a:gd name="T54" fmla="*/ 393 w 2239"/>
                <a:gd name="T55" fmla="*/ 2704 h 2704"/>
                <a:gd name="T56" fmla="*/ 507 w 2239"/>
                <a:gd name="T57" fmla="*/ 2704 h 2704"/>
                <a:gd name="T58" fmla="*/ 507 w 2239"/>
                <a:gd name="T59" fmla="*/ 2590 h 2704"/>
                <a:gd name="T60" fmla="*/ 507 w 2239"/>
                <a:gd name="T61" fmla="*/ 1742 h 2704"/>
                <a:gd name="T62" fmla="*/ 892 w 2239"/>
                <a:gd name="T63" fmla="*/ 1742 h 2704"/>
                <a:gd name="T64" fmla="*/ 1577 w 2239"/>
                <a:gd name="T65" fmla="*/ 2658 h 2704"/>
                <a:gd name="T66" fmla="*/ 1611 w 2239"/>
                <a:gd name="T67" fmla="*/ 2704 h 2704"/>
                <a:gd name="T68" fmla="*/ 1668 w 2239"/>
                <a:gd name="T69" fmla="*/ 2704 h 2704"/>
                <a:gd name="T70" fmla="*/ 2011 w 2239"/>
                <a:gd name="T71" fmla="*/ 2704 h 2704"/>
                <a:gd name="T72" fmla="*/ 2239 w 2239"/>
                <a:gd name="T73" fmla="*/ 2704 h 2704"/>
                <a:gd name="T74" fmla="*/ 2102 w 2239"/>
                <a:gd name="T75" fmla="*/ 2522 h 2704"/>
                <a:gd name="T76" fmla="*/ 1443 w 2239"/>
                <a:gd name="T77" fmla="*/ 1646 h 2704"/>
                <a:gd name="T78" fmla="*/ 2036 w 2239"/>
                <a:gd name="T79" fmla="*/ 856 h 2704"/>
                <a:gd name="T80" fmla="*/ 2036 w 2239"/>
                <a:gd name="T81" fmla="*/ 849 h 2704"/>
                <a:gd name="T82" fmla="*/ 1812 w 2239"/>
                <a:gd name="T83" fmla="*/ 281 h 2704"/>
                <a:gd name="T84" fmla="*/ 1027 w 2239"/>
                <a:gd name="T85" fmla="*/ 0 h 2704"/>
                <a:gd name="T86" fmla="*/ 507 w 2239"/>
                <a:gd name="T87" fmla="*/ 485 h 2704"/>
                <a:gd name="T88" fmla="*/ 1006 w 2239"/>
                <a:gd name="T89" fmla="*/ 485 h 2704"/>
                <a:gd name="T90" fmla="*/ 1526 w 2239"/>
                <a:gd name="T91" fmla="*/ 860 h 2704"/>
                <a:gd name="T92" fmla="*/ 1526 w 2239"/>
                <a:gd name="T93" fmla="*/ 867 h 2704"/>
                <a:gd name="T94" fmla="*/ 1003 w 2239"/>
                <a:gd name="T95" fmla="*/ 1263 h 2704"/>
                <a:gd name="T96" fmla="*/ 507 w 2239"/>
                <a:gd name="T97" fmla="*/ 1263 h 2704"/>
                <a:gd name="T98" fmla="*/ 507 w 2239"/>
                <a:gd name="T99" fmla="*/ 485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9" h="2704">
                  <a:moveTo>
                    <a:pt x="1027" y="113"/>
                  </a:moveTo>
                  <a:cubicBezTo>
                    <a:pt x="1332" y="113"/>
                    <a:pt x="1576" y="205"/>
                    <a:pt x="1731" y="361"/>
                  </a:cubicBezTo>
                  <a:cubicBezTo>
                    <a:pt x="1852" y="481"/>
                    <a:pt x="1923" y="655"/>
                    <a:pt x="1923" y="849"/>
                  </a:cubicBezTo>
                  <a:cubicBezTo>
                    <a:pt x="1923" y="856"/>
                    <a:pt x="1923" y="856"/>
                    <a:pt x="1923" y="856"/>
                  </a:cubicBezTo>
                  <a:cubicBezTo>
                    <a:pt x="1923" y="1267"/>
                    <a:pt x="1639" y="1508"/>
                    <a:pt x="1250" y="1578"/>
                  </a:cubicBezTo>
                  <a:cubicBezTo>
                    <a:pt x="2011" y="2590"/>
                    <a:pt x="2011" y="2590"/>
                    <a:pt x="2011" y="2590"/>
                  </a:cubicBezTo>
                  <a:cubicBezTo>
                    <a:pt x="1668" y="2590"/>
                    <a:pt x="1668" y="2590"/>
                    <a:pt x="1668" y="2590"/>
                  </a:cubicBezTo>
                  <a:cubicBezTo>
                    <a:pt x="949" y="1628"/>
                    <a:pt x="949" y="1628"/>
                    <a:pt x="949" y="1628"/>
                  </a:cubicBezTo>
                  <a:cubicBezTo>
                    <a:pt x="393" y="1628"/>
                    <a:pt x="393" y="1628"/>
                    <a:pt x="393" y="1628"/>
                  </a:cubicBezTo>
                  <a:cubicBezTo>
                    <a:pt x="393" y="2590"/>
                    <a:pt x="393" y="2590"/>
                    <a:pt x="393" y="2590"/>
                  </a:cubicBezTo>
                  <a:cubicBezTo>
                    <a:pt x="114" y="2590"/>
                    <a:pt x="114" y="2590"/>
                    <a:pt x="114" y="2590"/>
                  </a:cubicBezTo>
                  <a:cubicBezTo>
                    <a:pt x="114" y="113"/>
                    <a:pt x="114" y="113"/>
                    <a:pt x="114" y="113"/>
                  </a:cubicBezTo>
                  <a:cubicBezTo>
                    <a:pt x="1027" y="113"/>
                    <a:pt x="1027" y="113"/>
                    <a:pt x="1027" y="113"/>
                  </a:cubicBezTo>
                  <a:moveTo>
                    <a:pt x="393" y="1377"/>
                  </a:moveTo>
                  <a:cubicBezTo>
                    <a:pt x="1003" y="1377"/>
                    <a:pt x="1003" y="1377"/>
                    <a:pt x="1003" y="1377"/>
                  </a:cubicBezTo>
                  <a:cubicBezTo>
                    <a:pt x="1374" y="1377"/>
                    <a:pt x="1639" y="1186"/>
                    <a:pt x="1639" y="867"/>
                  </a:cubicBezTo>
                  <a:cubicBezTo>
                    <a:pt x="1639" y="860"/>
                    <a:pt x="1639" y="860"/>
                    <a:pt x="1639" y="860"/>
                  </a:cubicBezTo>
                  <a:cubicBezTo>
                    <a:pt x="1639" y="556"/>
                    <a:pt x="1406" y="372"/>
                    <a:pt x="1006" y="372"/>
                  </a:cubicBezTo>
                  <a:cubicBezTo>
                    <a:pt x="393" y="372"/>
                    <a:pt x="393" y="372"/>
                    <a:pt x="393" y="372"/>
                  </a:cubicBezTo>
                  <a:cubicBezTo>
                    <a:pt x="393" y="1377"/>
                    <a:pt x="393" y="1377"/>
                    <a:pt x="393" y="1377"/>
                  </a:cubicBezTo>
                  <a:moveTo>
                    <a:pt x="1027" y="0"/>
                  </a:moveTo>
                  <a:cubicBezTo>
                    <a:pt x="114" y="0"/>
                    <a:pt x="114" y="0"/>
                    <a:pt x="114" y="0"/>
                  </a:cubicBezTo>
                  <a:cubicBezTo>
                    <a:pt x="0" y="0"/>
                    <a:pt x="0" y="0"/>
                    <a:pt x="0" y="0"/>
                  </a:cubicBezTo>
                  <a:cubicBezTo>
                    <a:pt x="0" y="113"/>
                    <a:pt x="0" y="113"/>
                    <a:pt x="0" y="113"/>
                  </a:cubicBezTo>
                  <a:cubicBezTo>
                    <a:pt x="0" y="2590"/>
                    <a:pt x="0" y="2590"/>
                    <a:pt x="0" y="2590"/>
                  </a:cubicBezTo>
                  <a:cubicBezTo>
                    <a:pt x="0" y="2704"/>
                    <a:pt x="0" y="2704"/>
                    <a:pt x="0" y="2704"/>
                  </a:cubicBezTo>
                  <a:cubicBezTo>
                    <a:pt x="114" y="2704"/>
                    <a:pt x="114" y="2704"/>
                    <a:pt x="114" y="2704"/>
                  </a:cubicBezTo>
                  <a:cubicBezTo>
                    <a:pt x="393" y="2704"/>
                    <a:pt x="393" y="2704"/>
                    <a:pt x="393" y="2704"/>
                  </a:cubicBezTo>
                  <a:cubicBezTo>
                    <a:pt x="507" y="2704"/>
                    <a:pt x="507" y="2704"/>
                    <a:pt x="507" y="2704"/>
                  </a:cubicBezTo>
                  <a:cubicBezTo>
                    <a:pt x="507" y="2590"/>
                    <a:pt x="507" y="2590"/>
                    <a:pt x="507" y="2590"/>
                  </a:cubicBezTo>
                  <a:cubicBezTo>
                    <a:pt x="507" y="1742"/>
                    <a:pt x="507" y="1742"/>
                    <a:pt x="507" y="1742"/>
                  </a:cubicBezTo>
                  <a:cubicBezTo>
                    <a:pt x="892" y="1742"/>
                    <a:pt x="892" y="1742"/>
                    <a:pt x="892" y="1742"/>
                  </a:cubicBezTo>
                  <a:cubicBezTo>
                    <a:pt x="1577" y="2658"/>
                    <a:pt x="1577" y="2658"/>
                    <a:pt x="1577" y="2658"/>
                  </a:cubicBezTo>
                  <a:cubicBezTo>
                    <a:pt x="1611" y="2704"/>
                    <a:pt x="1611" y="2704"/>
                    <a:pt x="1611" y="2704"/>
                  </a:cubicBezTo>
                  <a:cubicBezTo>
                    <a:pt x="1668" y="2704"/>
                    <a:pt x="1668" y="2704"/>
                    <a:pt x="1668" y="2704"/>
                  </a:cubicBezTo>
                  <a:cubicBezTo>
                    <a:pt x="2011" y="2704"/>
                    <a:pt x="2011" y="2704"/>
                    <a:pt x="2011" y="2704"/>
                  </a:cubicBezTo>
                  <a:cubicBezTo>
                    <a:pt x="2239" y="2704"/>
                    <a:pt x="2239" y="2704"/>
                    <a:pt x="2239" y="2704"/>
                  </a:cubicBezTo>
                  <a:cubicBezTo>
                    <a:pt x="2102" y="2522"/>
                    <a:pt x="2102" y="2522"/>
                    <a:pt x="2102" y="2522"/>
                  </a:cubicBezTo>
                  <a:cubicBezTo>
                    <a:pt x="1443" y="1646"/>
                    <a:pt x="1443" y="1646"/>
                    <a:pt x="1443" y="1646"/>
                  </a:cubicBezTo>
                  <a:cubicBezTo>
                    <a:pt x="1818" y="1522"/>
                    <a:pt x="2036" y="1236"/>
                    <a:pt x="2036" y="856"/>
                  </a:cubicBezTo>
                  <a:cubicBezTo>
                    <a:pt x="2036" y="849"/>
                    <a:pt x="2036" y="849"/>
                    <a:pt x="2036" y="849"/>
                  </a:cubicBezTo>
                  <a:cubicBezTo>
                    <a:pt x="2036" y="627"/>
                    <a:pt x="1956" y="426"/>
                    <a:pt x="1812" y="281"/>
                  </a:cubicBezTo>
                  <a:cubicBezTo>
                    <a:pt x="1631" y="100"/>
                    <a:pt x="1352" y="0"/>
                    <a:pt x="1027" y="0"/>
                  </a:cubicBezTo>
                  <a:moveTo>
                    <a:pt x="507" y="485"/>
                  </a:moveTo>
                  <a:cubicBezTo>
                    <a:pt x="1006" y="485"/>
                    <a:pt x="1006" y="485"/>
                    <a:pt x="1006" y="485"/>
                  </a:cubicBezTo>
                  <a:cubicBezTo>
                    <a:pt x="1458" y="485"/>
                    <a:pt x="1526" y="720"/>
                    <a:pt x="1526" y="860"/>
                  </a:cubicBezTo>
                  <a:cubicBezTo>
                    <a:pt x="1526" y="867"/>
                    <a:pt x="1526" y="867"/>
                    <a:pt x="1526" y="867"/>
                  </a:cubicBezTo>
                  <a:cubicBezTo>
                    <a:pt x="1526" y="1059"/>
                    <a:pt x="1388" y="1263"/>
                    <a:pt x="1003" y="1263"/>
                  </a:cubicBezTo>
                  <a:cubicBezTo>
                    <a:pt x="507" y="1263"/>
                    <a:pt x="507" y="1263"/>
                    <a:pt x="507" y="1263"/>
                  </a:cubicBezTo>
                  <a:lnTo>
                    <a:pt x="507" y="4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noEditPoints="1"/>
            </p:cNvSpPr>
            <p:nvPr userDrawn="1"/>
          </p:nvSpPr>
          <p:spPr bwMode="auto">
            <a:xfrm>
              <a:off x="6905625" y="4194175"/>
              <a:ext cx="450850" cy="419100"/>
            </a:xfrm>
            <a:custGeom>
              <a:avLst/>
              <a:gdLst>
                <a:gd name="T0" fmla="*/ 2979 w 2979"/>
                <a:gd name="T1" fmla="*/ 1386 h 2771"/>
                <a:gd name="T2" fmla="*/ 1619 w 2979"/>
                <a:gd name="T3" fmla="*/ 2 h 2771"/>
                <a:gd name="T4" fmla="*/ 1562 w 2979"/>
                <a:gd name="T5" fmla="*/ 2 h 2771"/>
                <a:gd name="T6" fmla="*/ 1279 w 2979"/>
                <a:gd name="T7" fmla="*/ 6 h 2771"/>
                <a:gd name="T8" fmla="*/ 0 w 2979"/>
                <a:gd name="T9" fmla="*/ 1386 h 2771"/>
                <a:gd name="T10" fmla="*/ 1375 w 2979"/>
                <a:gd name="T11" fmla="*/ 2770 h 2771"/>
                <a:gd name="T12" fmla="*/ 1429 w 2979"/>
                <a:gd name="T13" fmla="*/ 2770 h 2771"/>
                <a:gd name="T14" fmla="*/ 1516 w 2979"/>
                <a:gd name="T15" fmla="*/ 2771 h 2771"/>
                <a:gd name="T16" fmla="*/ 1639 w 2979"/>
                <a:gd name="T17" fmla="*/ 2766 h 2771"/>
                <a:gd name="T18" fmla="*/ 2979 w 2979"/>
                <a:gd name="T19" fmla="*/ 1386 h 2771"/>
                <a:gd name="T20" fmla="*/ 106 w 2979"/>
                <a:gd name="T21" fmla="*/ 1386 h 2771"/>
                <a:gd name="T22" fmla="*/ 1343 w 2979"/>
                <a:gd name="T23" fmla="*/ 111 h 2771"/>
                <a:gd name="T24" fmla="*/ 2506 w 2979"/>
                <a:gd name="T25" fmla="*/ 1386 h 2771"/>
                <a:gd name="T26" fmla="*/ 2504 w 2979"/>
                <a:gd name="T27" fmla="*/ 1386 h 2771"/>
                <a:gd name="T28" fmla="*/ 1768 w 2979"/>
                <a:gd name="T29" fmla="*/ 2300 h 2771"/>
                <a:gd name="T30" fmla="*/ 2244 w 2979"/>
                <a:gd name="T31" fmla="*/ 1362 h 2771"/>
                <a:gd name="T32" fmla="*/ 1981 w 2979"/>
                <a:gd name="T33" fmla="*/ 609 h 2771"/>
                <a:gd name="T34" fmla="*/ 1343 w 2979"/>
                <a:gd name="T35" fmla="*/ 355 h 2771"/>
                <a:gd name="T36" fmla="*/ 579 w 2979"/>
                <a:gd name="T37" fmla="*/ 724 h 2771"/>
                <a:gd name="T38" fmla="*/ 341 w 2979"/>
                <a:gd name="T39" fmla="*/ 1388 h 2771"/>
                <a:gd name="T40" fmla="*/ 1011 w 2979"/>
                <a:gd name="T41" fmla="*/ 2612 h 2771"/>
                <a:gd name="T42" fmla="*/ 106 w 2979"/>
                <a:gd name="T43" fmla="*/ 1386 h 2771"/>
                <a:gd name="T44" fmla="*/ 1453 w 2979"/>
                <a:gd name="T45" fmla="*/ 468 h 2771"/>
                <a:gd name="T46" fmla="*/ 1904 w 2979"/>
                <a:gd name="T47" fmla="*/ 683 h 2771"/>
                <a:gd name="T48" fmla="*/ 2138 w 2979"/>
                <a:gd name="T49" fmla="*/ 1359 h 2771"/>
                <a:gd name="T50" fmla="*/ 1500 w 2979"/>
                <a:gd name="T51" fmla="*/ 2299 h 2771"/>
                <a:gd name="T52" fmla="*/ 817 w 2979"/>
                <a:gd name="T53" fmla="*/ 1386 h 2771"/>
                <a:gd name="T54" fmla="*/ 1453 w 2979"/>
                <a:gd name="T55" fmla="*/ 468 h 2771"/>
                <a:gd name="T56" fmla="*/ 1636 w 2979"/>
                <a:gd name="T57" fmla="*/ 2660 h 2771"/>
                <a:gd name="T58" fmla="*/ 448 w 2979"/>
                <a:gd name="T59" fmla="*/ 1388 h 2771"/>
                <a:gd name="T60" fmla="*/ 662 w 2979"/>
                <a:gd name="T61" fmla="*/ 790 h 2771"/>
                <a:gd name="T62" fmla="*/ 1138 w 2979"/>
                <a:gd name="T63" fmla="*/ 484 h 2771"/>
                <a:gd name="T64" fmla="*/ 710 w 2979"/>
                <a:gd name="T65" fmla="*/ 1386 h 2771"/>
                <a:gd name="T66" fmla="*/ 1636 w 2979"/>
                <a:gd name="T67" fmla="*/ 2416 h 2771"/>
                <a:gd name="T68" fmla="*/ 2611 w 2979"/>
                <a:gd name="T69" fmla="*/ 1386 h 2771"/>
                <a:gd name="T70" fmla="*/ 2613 w 2979"/>
                <a:gd name="T71" fmla="*/ 1386 h 2771"/>
                <a:gd name="T72" fmla="*/ 1933 w 2979"/>
                <a:gd name="T73" fmla="*/ 147 h 2771"/>
                <a:gd name="T74" fmla="*/ 2873 w 2979"/>
                <a:gd name="T75" fmla="*/ 1386 h 2771"/>
                <a:gd name="T76" fmla="*/ 1636 w 2979"/>
                <a:gd name="T77" fmla="*/ 2660 h 2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79" h="2771">
                  <a:moveTo>
                    <a:pt x="2979" y="1386"/>
                  </a:moveTo>
                  <a:cubicBezTo>
                    <a:pt x="2979" y="610"/>
                    <a:pt x="2382" y="2"/>
                    <a:pt x="1619" y="2"/>
                  </a:cubicBezTo>
                  <a:cubicBezTo>
                    <a:pt x="1606" y="3"/>
                    <a:pt x="1586" y="2"/>
                    <a:pt x="1562" y="2"/>
                  </a:cubicBezTo>
                  <a:cubicBezTo>
                    <a:pt x="1446" y="1"/>
                    <a:pt x="1328" y="0"/>
                    <a:pt x="1279" y="6"/>
                  </a:cubicBezTo>
                  <a:cubicBezTo>
                    <a:pt x="545" y="38"/>
                    <a:pt x="0" y="620"/>
                    <a:pt x="0" y="1386"/>
                  </a:cubicBezTo>
                  <a:cubicBezTo>
                    <a:pt x="0" y="2162"/>
                    <a:pt x="604" y="2770"/>
                    <a:pt x="1375" y="2770"/>
                  </a:cubicBezTo>
                  <a:cubicBezTo>
                    <a:pt x="1390" y="2770"/>
                    <a:pt x="1408" y="2770"/>
                    <a:pt x="1429" y="2770"/>
                  </a:cubicBezTo>
                  <a:cubicBezTo>
                    <a:pt x="1456" y="2771"/>
                    <a:pt x="1486" y="2771"/>
                    <a:pt x="1516" y="2771"/>
                  </a:cubicBezTo>
                  <a:cubicBezTo>
                    <a:pt x="1563" y="2771"/>
                    <a:pt x="1608" y="2770"/>
                    <a:pt x="1639" y="2766"/>
                  </a:cubicBezTo>
                  <a:cubicBezTo>
                    <a:pt x="2403" y="2765"/>
                    <a:pt x="2979" y="2172"/>
                    <a:pt x="2979" y="1386"/>
                  </a:cubicBezTo>
                  <a:moveTo>
                    <a:pt x="106" y="1386"/>
                  </a:moveTo>
                  <a:cubicBezTo>
                    <a:pt x="106" y="659"/>
                    <a:pt x="638" y="111"/>
                    <a:pt x="1343" y="111"/>
                  </a:cubicBezTo>
                  <a:cubicBezTo>
                    <a:pt x="2028" y="111"/>
                    <a:pt x="2506" y="635"/>
                    <a:pt x="2506" y="1386"/>
                  </a:cubicBezTo>
                  <a:cubicBezTo>
                    <a:pt x="2504" y="1386"/>
                    <a:pt x="2504" y="1386"/>
                    <a:pt x="2504" y="1386"/>
                  </a:cubicBezTo>
                  <a:cubicBezTo>
                    <a:pt x="2504" y="1864"/>
                    <a:pt x="2196" y="2236"/>
                    <a:pt x="1768" y="2300"/>
                  </a:cubicBezTo>
                  <a:cubicBezTo>
                    <a:pt x="2022" y="2137"/>
                    <a:pt x="2232" y="1810"/>
                    <a:pt x="2244" y="1362"/>
                  </a:cubicBezTo>
                  <a:cubicBezTo>
                    <a:pt x="2252" y="1059"/>
                    <a:pt x="2158" y="791"/>
                    <a:pt x="1981" y="609"/>
                  </a:cubicBezTo>
                  <a:cubicBezTo>
                    <a:pt x="1819" y="443"/>
                    <a:pt x="1598" y="355"/>
                    <a:pt x="1343" y="355"/>
                  </a:cubicBezTo>
                  <a:cubicBezTo>
                    <a:pt x="1034" y="355"/>
                    <a:pt x="769" y="483"/>
                    <a:pt x="579" y="724"/>
                  </a:cubicBezTo>
                  <a:cubicBezTo>
                    <a:pt x="432" y="909"/>
                    <a:pt x="341" y="1164"/>
                    <a:pt x="341" y="1388"/>
                  </a:cubicBezTo>
                  <a:cubicBezTo>
                    <a:pt x="341" y="1941"/>
                    <a:pt x="602" y="2388"/>
                    <a:pt x="1011" y="2612"/>
                  </a:cubicBezTo>
                  <a:cubicBezTo>
                    <a:pt x="482" y="2458"/>
                    <a:pt x="106" y="1974"/>
                    <a:pt x="106" y="1386"/>
                  </a:cubicBezTo>
                  <a:moveTo>
                    <a:pt x="1453" y="468"/>
                  </a:moveTo>
                  <a:cubicBezTo>
                    <a:pt x="1632" y="489"/>
                    <a:pt x="1787" y="562"/>
                    <a:pt x="1904" y="683"/>
                  </a:cubicBezTo>
                  <a:cubicBezTo>
                    <a:pt x="2062" y="845"/>
                    <a:pt x="2145" y="1085"/>
                    <a:pt x="2138" y="1359"/>
                  </a:cubicBezTo>
                  <a:cubicBezTo>
                    <a:pt x="2127" y="1754"/>
                    <a:pt x="1901" y="2215"/>
                    <a:pt x="1500" y="2299"/>
                  </a:cubicBezTo>
                  <a:cubicBezTo>
                    <a:pt x="1091" y="2234"/>
                    <a:pt x="817" y="1877"/>
                    <a:pt x="817" y="1386"/>
                  </a:cubicBezTo>
                  <a:cubicBezTo>
                    <a:pt x="817" y="907"/>
                    <a:pt x="1066" y="548"/>
                    <a:pt x="1453" y="468"/>
                  </a:cubicBezTo>
                  <a:moveTo>
                    <a:pt x="1636" y="2660"/>
                  </a:moveTo>
                  <a:cubicBezTo>
                    <a:pt x="947" y="2660"/>
                    <a:pt x="448" y="2125"/>
                    <a:pt x="448" y="1388"/>
                  </a:cubicBezTo>
                  <a:cubicBezTo>
                    <a:pt x="448" y="1186"/>
                    <a:pt x="530" y="957"/>
                    <a:pt x="662" y="790"/>
                  </a:cubicBezTo>
                  <a:cubicBezTo>
                    <a:pt x="788" y="631"/>
                    <a:pt x="950" y="527"/>
                    <a:pt x="1138" y="484"/>
                  </a:cubicBezTo>
                  <a:cubicBezTo>
                    <a:pt x="871" y="659"/>
                    <a:pt x="710" y="985"/>
                    <a:pt x="710" y="1386"/>
                  </a:cubicBezTo>
                  <a:cubicBezTo>
                    <a:pt x="710" y="1992"/>
                    <a:pt x="1091" y="2416"/>
                    <a:pt x="1636" y="2416"/>
                  </a:cubicBezTo>
                  <a:cubicBezTo>
                    <a:pt x="2191" y="2416"/>
                    <a:pt x="2611" y="1973"/>
                    <a:pt x="2611" y="1386"/>
                  </a:cubicBezTo>
                  <a:cubicBezTo>
                    <a:pt x="2613" y="1386"/>
                    <a:pt x="2613" y="1386"/>
                    <a:pt x="2613" y="1386"/>
                  </a:cubicBezTo>
                  <a:cubicBezTo>
                    <a:pt x="2613" y="821"/>
                    <a:pt x="2347" y="367"/>
                    <a:pt x="1933" y="147"/>
                  </a:cubicBezTo>
                  <a:cubicBezTo>
                    <a:pt x="2479" y="286"/>
                    <a:pt x="2873" y="780"/>
                    <a:pt x="2873" y="1386"/>
                  </a:cubicBezTo>
                  <a:cubicBezTo>
                    <a:pt x="2873" y="2112"/>
                    <a:pt x="2341" y="2660"/>
                    <a:pt x="1636" y="26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9" name="Title 1"/>
          <p:cNvSpPr>
            <a:spLocks noGrp="1"/>
          </p:cNvSpPr>
          <p:nvPr>
            <p:ph type="ctrTitle" hasCustomPrompt="1"/>
          </p:nvPr>
        </p:nvSpPr>
        <p:spPr>
          <a:xfrm>
            <a:off x="430690" y="463552"/>
            <a:ext cx="5666898" cy="1298574"/>
          </a:xfrm>
        </p:spPr>
        <p:txBody>
          <a:bodyPr anchor="b" anchorCtr="0">
            <a:normAutofit/>
          </a:bodyPr>
          <a:lstStyle>
            <a:lvl1pPr>
              <a:lnSpc>
                <a:spcPct val="90000"/>
              </a:lnSpc>
              <a:defRPr sz="1800">
                <a:solidFill>
                  <a:schemeClr val="bg1"/>
                </a:solidFill>
              </a:defRPr>
            </a:lvl1pPr>
          </a:lstStyle>
          <a:p>
            <a:r>
              <a:rPr lang="en-US" dirty="0"/>
              <a:t>Master title style</a:t>
            </a:r>
            <a:endParaRPr lang="en-GB" dirty="0"/>
          </a:p>
        </p:txBody>
      </p:sp>
      <p:sp>
        <p:nvSpPr>
          <p:cNvPr id="20" name="Subtitle 2"/>
          <p:cNvSpPr>
            <a:spLocks noGrp="1"/>
          </p:cNvSpPr>
          <p:nvPr>
            <p:ph type="subTitle" idx="1" hasCustomPrompt="1"/>
          </p:nvPr>
        </p:nvSpPr>
        <p:spPr>
          <a:xfrm>
            <a:off x="430690" y="1828801"/>
            <a:ext cx="5667628" cy="1152524"/>
          </a:xfrm>
        </p:spPr>
        <p:txBody>
          <a:bodyPr>
            <a:normAutofit/>
          </a:bodyPr>
          <a:lstStyle>
            <a:lvl1pPr marL="0" indent="0" algn="l">
              <a:lnSpc>
                <a:spcPct val="90000"/>
              </a:lnSpc>
              <a:spcBef>
                <a:spcPts val="600"/>
              </a:spcBef>
              <a:buNone/>
              <a:defRPr sz="18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Master subtitle style</a:t>
            </a:r>
            <a:endParaRPr lang="en-GB" dirty="0"/>
          </a:p>
        </p:txBody>
      </p:sp>
      <p:sp>
        <p:nvSpPr>
          <p:cNvPr id="21" name="Text Placeholder 21"/>
          <p:cNvSpPr>
            <a:spLocks noGrp="1"/>
          </p:cNvSpPr>
          <p:nvPr>
            <p:ph type="body" sz="quarter" idx="13" hasCustomPrompt="1"/>
          </p:nvPr>
        </p:nvSpPr>
        <p:spPr>
          <a:xfrm>
            <a:off x="438150" y="3086100"/>
            <a:ext cx="5667375" cy="838200"/>
          </a:xfrm>
        </p:spPr>
        <p:txBody>
          <a:bodyPr>
            <a:noAutofit/>
          </a:bodyPr>
          <a:lstStyle>
            <a:lvl1pPr marL="0" indent="0">
              <a:buFont typeface="Arial" panose="020B0604020202020204" pitchFamily="34" charset="0"/>
              <a:buNone/>
              <a:defRPr sz="1800" b="0">
                <a:solidFill>
                  <a:schemeClr val="bg1"/>
                </a:solidFill>
                <a:latin typeface="+mj-lt"/>
              </a:defRPr>
            </a:lvl1pPr>
            <a:lvl2pPr marL="0" indent="0">
              <a:buFont typeface="Arial" panose="020B0604020202020204" pitchFamily="34" charset="0"/>
              <a:buNone/>
              <a:defRPr sz="1400" b="0">
                <a:solidFill>
                  <a:schemeClr val="bg1"/>
                </a:solidFill>
                <a:latin typeface="+mn-lt"/>
              </a:defRPr>
            </a:lvl2pPr>
            <a:lvl3pPr marL="0" indent="0">
              <a:buNone/>
              <a:defRPr sz="1400" b="0">
                <a:solidFill>
                  <a:schemeClr val="bg1"/>
                </a:solidFill>
                <a:latin typeface="+mn-lt"/>
              </a:defRPr>
            </a:lvl3pPr>
            <a:lvl4pPr marL="0" indent="0">
              <a:buNone/>
              <a:defRPr sz="1400" b="0">
                <a:solidFill>
                  <a:schemeClr val="bg1"/>
                </a:solidFill>
                <a:latin typeface="+mn-lt"/>
              </a:defRPr>
            </a:lvl4pPr>
            <a:lvl5pPr marL="0" indent="0">
              <a:buNone/>
              <a:defRPr sz="1400" b="0">
                <a:solidFill>
                  <a:schemeClr val="bg1"/>
                </a:solidFill>
                <a:latin typeface="+mn-lt"/>
              </a:defRPr>
            </a:lvl5pPr>
          </a:lstStyle>
          <a:p>
            <a:pPr lvl="0"/>
            <a:r>
              <a:rPr lang="en-US" dirty="0"/>
              <a:t>Date</a:t>
            </a:r>
            <a:endParaRPr lang="en-GB" dirty="0"/>
          </a:p>
        </p:txBody>
      </p:sp>
    </p:spTree>
    <p:extLst>
      <p:ext uri="{BB962C8B-B14F-4D97-AF65-F5344CB8AC3E}">
        <p14:creationId xmlns:p14="http://schemas.microsoft.com/office/powerpoint/2010/main" val="1590058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inal Slide 3">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7" y="820"/>
            <a:ext cx="12190540" cy="6857179"/>
          </a:xfrm>
          <a:prstGeom prst="rect">
            <a:avLst/>
          </a:prstGeom>
        </p:spPr>
      </p:pic>
      <p:grpSp>
        <p:nvGrpSpPr>
          <p:cNvPr id="8" name="Group 7"/>
          <p:cNvGrpSpPr>
            <a:grpSpLocks noChangeAspect="1"/>
          </p:cNvGrpSpPr>
          <p:nvPr userDrawn="1"/>
        </p:nvGrpSpPr>
        <p:grpSpPr>
          <a:xfrm>
            <a:off x="438149" y="6230422"/>
            <a:ext cx="1476000" cy="196205"/>
            <a:chOff x="6905625" y="4194175"/>
            <a:chExt cx="3152775" cy="419100"/>
          </a:xfrm>
          <a:solidFill>
            <a:schemeClr val="bg1"/>
          </a:solidFill>
        </p:grpSpPr>
        <p:sp>
          <p:nvSpPr>
            <p:cNvPr id="9" name="Freeform 6"/>
            <p:cNvSpPr>
              <a:spLocks noEditPoints="1"/>
            </p:cNvSpPr>
            <p:nvPr userDrawn="1"/>
          </p:nvSpPr>
          <p:spPr bwMode="auto">
            <a:xfrm>
              <a:off x="7824788" y="4200525"/>
              <a:ext cx="295275" cy="406400"/>
            </a:xfrm>
            <a:custGeom>
              <a:avLst/>
              <a:gdLst>
                <a:gd name="T0" fmla="*/ 174 w 186"/>
                <a:gd name="T1" fmla="*/ 11 h 256"/>
                <a:gd name="T2" fmla="*/ 174 w 186"/>
                <a:gd name="T3" fmla="*/ 32 h 256"/>
                <a:gd name="T4" fmla="*/ 118 w 186"/>
                <a:gd name="T5" fmla="*/ 32 h 256"/>
                <a:gd name="T6" fmla="*/ 106 w 186"/>
                <a:gd name="T7" fmla="*/ 32 h 256"/>
                <a:gd name="T8" fmla="*/ 106 w 186"/>
                <a:gd name="T9" fmla="*/ 44 h 256"/>
                <a:gd name="T10" fmla="*/ 106 w 186"/>
                <a:gd name="T11" fmla="*/ 245 h 256"/>
                <a:gd name="T12" fmla="*/ 79 w 186"/>
                <a:gd name="T13" fmla="*/ 245 h 256"/>
                <a:gd name="T14" fmla="*/ 79 w 186"/>
                <a:gd name="T15" fmla="*/ 44 h 256"/>
                <a:gd name="T16" fmla="*/ 79 w 186"/>
                <a:gd name="T17" fmla="*/ 32 h 256"/>
                <a:gd name="T18" fmla="*/ 68 w 186"/>
                <a:gd name="T19" fmla="*/ 32 h 256"/>
                <a:gd name="T20" fmla="*/ 11 w 186"/>
                <a:gd name="T21" fmla="*/ 32 h 256"/>
                <a:gd name="T22" fmla="*/ 11 w 186"/>
                <a:gd name="T23" fmla="*/ 11 h 256"/>
                <a:gd name="T24" fmla="*/ 174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4" y="11"/>
                  </a:moveTo>
                  <a:lnTo>
                    <a:pt x="174" y="32"/>
                  </a:lnTo>
                  <a:lnTo>
                    <a:pt x="118" y="32"/>
                  </a:lnTo>
                  <a:lnTo>
                    <a:pt x="106" y="32"/>
                  </a:lnTo>
                  <a:lnTo>
                    <a:pt x="106" y="44"/>
                  </a:lnTo>
                  <a:lnTo>
                    <a:pt x="106" y="245"/>
                  </a:lnTo>
                  <a:lnTo>
                    <a:pt x="79" y="245"/>
                  </a:lnTo>
                  <a:lnTo>
                    <a:pt x="79" y="44"/>
                  </a:lnTo>
                  <a:lnTo>
                    <a:pt x="79" y="32"/>
                  </a:lnTo>
                  <a:lnTo>
                    <a:pt x="68" y="32"/>
                  </a:lnTo>
                  <a:lnTo>
                    <a:pt x="11" y="32"/>
                  </a:lnTo>
                  <a:lnTo>
                    <a:pt x="11" y="11"/>
                  </a:lnTo>
                  <a:lnTo>
                    <a:pt x="174"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9"/>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close/>
                  <a:moveTo>
                    <a:pt x="78" y="167"/>
                  </a:moveTo>
                  <a:lnTo>
                    <a:pt x="95" y="167"/>
                  </a:lnTo>
                  <a:lnTo>
                    <a:pt x="160" y="167"/>
                  </a:lnTo>
                  <a:lnTo>
                    <a:pt x="177" y="167"/>
                  </a:lnTo>
                  <a:lnTo>
                    <a:pt x="170" y="151"/>
                  </a:lnTo>
                  <a:lnTo>
                    <a:pt x="138" y="75"/>
                  </a:lnTo>
                  <a:lnTo>
                    <a:pt x="127" y="51"/>
                  </a:lnTo>
                  <a:lnTo>
                    <a:pt x="117" y="75"/>
                  </a:lnTo>
                  <a:lnTo>
                    <a:pt x="84" y="151"/>
                  </a:lnTo>
                  <a:lnTo>
                    <a:pt x="78" y="167"/>
                  </a:lnTo>
                  <a:close/>
                  <a:moveTo>
                    <a:pt x="145" y="0"/>
                  </a:moveTo>
                  <a:lnTo>
                    <a:pt x="110" y="0"/>
                  </a:lnTo>
                  <a:lnTo>
                    <a:pt x="0" y="256"/>
                  </a:lnTo>
                  <a:lnTo>
                    <a:pt x="52" y="256"/>
                  </a:lnTo>
                  <a:lnTo>
                    <a:pt x="76" y="199"/>
                  </a:lnTo>
                  <a:lnTo>
                    <a:pt x="179" y="199"/>
                  </a:lnTo>
                  <a:lnTo>
                    <a:pt x="203" y="256"/>
                  </a:lnTo>
                  <a:lnTo>
                    <a:pt x="255" y="256"/>
                  </a:lnTo>
                  <a:lnTo>
                    <a:pt x="145" y="0"/>
                  </a:lnTo>
                  <a:close/>
                  <a:moveTo>
                    <a:pt x="95" y="156"/>
                  </a:moveTo>
                  <a:lnTo>
                    <a:pt x="127" y="80"/>
                  </a:lnTo>
                  <a:lnTo>
                    <a:pt x="160" y="156"/>
                  </a:lnTo>
                  <a:lnTo>
                    <a:pt x="95"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5"/>
            <p:cNvSpPr>
              <a:spLocks noEditPoints="1"/>
            </p:cNvSpPr>
            <p:nvPr userDrawn="1"/>
          </p:nvSpPr>
          <p:spPr bwMode="auto">
            <a:xfrm>
              <a:off x="7410450" y="4200525"/>
              <a:ext cx="350838" cy="412750"/>
            </a:xfrm>
            <a:custGeom>
              <a:avLst/>
              <a:gdLst>
                <a:gd name="T0" fmla="*/ 2198 w 2316"/>
                <a:gd name="T1" fmla="*/ 117 h 2741"/>
                <a:gd name="T2" fmla="*/ 2198 w 2316"/>
                <a:gd name="T3" fmla="*/ 1563 h 2741"/>
                <a:gd name="T4" fmla="*/ 1890 w 2316"/>
                <a:gd name="T5" fmla="*/ 2375 h 2741"/>
                <a:gd name="T6" fmla="*/ 1158 w 2316"/>
                <a:gd name="T7" fmla="*/ 2624 h 2741"/>
                <a:gd name="T8" fmla="*/ 425 w 2316"/>
                <a:gd name="T9" fmla="*/ 2376 h 2741"/>
                <a:gd name="T10" fmla="*/ 117 w 2316"/>
                <a:gd name="T11" fmla="*/ 1563 h 2741"/>
                <a:gd name="T12" fmla="*/ 117 w 2316"/>
                <a:gd name="T13" fmla="*/ 117 h 2741"/>
                <a:gd name="T14" fmla="*/ 404 w 2316"/>
                <a:gd name="T15" fmla="*/ 117 h 2741"/>
                <a:gd name="T16" fmla="*/ 404 w 2316"/>
                <a:gd name="T17" fmla="*/ 1602 h 2741"/>
                <a:gd name="T18" fmla="*/ 618 w 2316"/>
                <a:gd name="T19" fmla="*/ 2189 h 2741"/>
                <a:gd name="T20" fmla="*/ 1158 w 2316"/>
                <a:gd name="T21" fmla="*/ 2395 h 2741"/>
                <a:gd name="T22" fmla="*/ 1698 w 2316"/>
                <a:gd name="T23" fmla="*/ 2189 h 2741"/>
                <a:gd name="T24" fmla="*/ 1912 w 2316"/>
                <a:gd name="T25" fmla="*/ 1602 h 2741"/>
                <a:gd name="T26" fmla="*/ 1912 w 2316"/>
                <a:gd name="T27" fmla="*/ 117 h 2741"/>
                <a:gd name="T28" fmla="*/ 2198 w 2316"/>
                <a:gd name="T29" fmla="*/ 117 h 2741"/>
                <a:gd name="T30" fmla="*/ 2316 w 2316"/>
                <a:gd name="T31" fmla="*/ 0 h 2741"/>
                <a:gd name="T32" fmla="*/ 1794 w 2316"/>
                <a:gd name="T33" fmla="*/ 0 h 2741"/>
                <a:gd name="T34" fmla="*/ 1794 w 2316"/>
                <a:gd name="T35" fmla="*/ 1602 h 2741"/>
                <a:gd name="T36" fmla="*/ 1617 w 2316"/>
                <a:gd name="T37" fmla="*/ 2104 h 2741"/>
                <a:gd name="T38" fmla="*/ 1158 w 2316"/>
                <a:gd name="T39" fmla="*/ 2277 h 2741"/>
                <a:gd name="T40" fmla="*/ 698 w 2316"/>
                <a:gd name="T41" fmla="*/ 2104 h 2741"/>
                <a:gd name="T42" fmla="*/ 521 w 2316"/>
                <a:gd name="T43" fmla="*/ 1602 h 2741"/>
                <a:gd name="T44" fmla="*/ 521 w 2316"/>
                <a:gd name="T45" fmla="*/ 0 h 2741"/>
                <a:gd name="T46" fmla="*/ 0 w 2316"/>
                <a:gd name="T47" fmla="*/ 0 h 2741"/>
                <a:gd name="T48" fmla="*/ 0 w 2316"/>
                <a:gd name="T49" fmla="*/ 1563 h 2741"/>
                <a:gd name="T50" fmla="*/ 347 w 2316"/>
                <a:gd name="T51" fmla="*/ 2463 h 2741"/>
                <a:gd name="T52" fmla="*/ 1158 w 2316"/>
                <a:gd name="T53" fmla="*/ 2741 h 2741"/>
                <a:gd name="T54" fmla="*/ 1968 w 2316"/>
                <a:gd name="T55" fmla="*/ 2463 h 2741"/>
                <a:gd name="T56" fmla="*/ 2316 w 2316"/>
                <a:gd name="T57" fmla="*/ 1563 h 2741"/>
                <a:gd name="T58" fmla="*/ 2316 w 2316"/>
                <a:gd name="T59" fmla="*/ 0 h 2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6" h="2741">
                  <a:moveTo>
                    <a:pt x="2198" y="117"/>
                  </a:moveTo>
                  <a:cubicBezTo>
                    <a:pt x="2198" y="1563"/>
                    <a:pt x="2198" y="1563"/>
                    <a:pt x="2198" y="1563"/>
                  </a:cubicBezTo>
                  <a:cubicBezTo>
                    <a:pt x="2198" y="1924"/>
                    <a:pt x="2098" y="2189"/>
                    <a:pt x="1890" y="2375"/>
                  </a:cubicBezTo>
                  <a:cubicBezTo>
                    <a:pt x="1713" y="2533"/>
                    <a:pt x="1446" y="2624"/>
                    <a:pt x="1158" y="2624"/>
                  </a:cubicBezTo>
                  <a:cubicBezTo>
                    <a:pt x="870" y="2624"/>
                    <a:pt x="602" y="2533"/>
                    <a:pt x="425" y="2376"/>
                  </a:cubicBezTo>
                  <a:cubicBezTo>
                    <a:pt x="218" y="2190"/>
                    <a:pt x="117" y="1924"/>
                    <a:pt x="117" y="1563"/>
                  </a:cubicBezTo>
                  <a:cubicBezTo>
                    <a:pt x="117" y="117"/>
                    <a:pt x="117" y="117"/>
                    <a:pt x="117" y="117"/>
                  </a:cubicBezTo>
                  <a:cubicBezTo>
                    <a:pt x="404" y="117"/>
                    <a:pt x="404" y="117"/>
                    <a:pt x="404" y="117"/>
                  </a:cubicBezTo>
                  <a:cubicBezTo>
                    <a:pt x="404" y="1602"/>
                    <a:pt x="404" y="1602"/>
                    <a:pt x="404" y="1602"/>
                  </a:cubicBezTo>
                  <a:cubicBezTo>
                    <a:pt x="404" y="1866"/>
                    <a:pt x="472" y="2052"/>
                    <a:pt x="618" y="2189"/>
                  </a:cubicBezTo>
                  <a:cubicBezTo>
                    <a:pt x="756" y="2321"/>
                    <a:pt x="947" y="2395"/>
                    <a:pt x="1158" y="2395"/>
                  </a:cubicBezTo>
                  <a:cubicBezTo>
                    <a:pt x="1368" y="2395"/>
                    <a:pt x="1560" y="2321"/>
                    <a:pt x="1698" y="2189"/>
                  </a:cubicBezTo>
                  <a:cubicBezTo>
                    <a:pt x="1844" y="2052"/>
                    <a:pt x="1912" y="1866"/>
                    <a:pt x="1912" y="1602"/>
                  </a:cubicBezTo>
                  <a:cubicBezTo>
                    <a:pt x="1912" y="117"/>
                    <a:pt x="1912" y="117"/>
                    <a:pt x="1912" y="117"/>
                  </a:cubicBezTo>
                  <a:cubicBezTo>
                    <a:pt x="2198" y="117"/>
                    <a:pt x="2198" y="117"/>
                    <a:pt x="2198" y="117"/>
                  </a:cubicBezTo>
                  <a:moveTo>
                    <a:pt x="2316" y="0"/>
                  </a:moveTo>
                  <a:cubicBezTo>
                    <a:pt x="1794" y="0"/>
                    <a:pt x="1794" y="0"/>
                    <a:pt x="1794" y="0"/>
                  </a:cubicBezTo>
                  <a:cubicBezTo>
                    <a:pt x="1794" y="1602"/>
                    <a:pt x="1794" y="1602"/>
                    <a:pt x="1794" y="1602"/>
                  </a:cubicBezTo>
                  <a:cubicBezTo>
                    <a:pt x="1794" y="1849"/>
                    <a:pt x="1729" y="2000"/>
                    <a:pt x="1617" y="2104"/>
                  </a:cubicBezTo>
                  <a:cubicBezTo>
                    <a:pt x="1501" y="2216"/>
                    <a:pt x="1339" y="2277"/>
                    <a:pt x="1158" y="2277"/>
                  </a:cubicBezTo>
                  <a:cubicBezTo>
                    <a:pt x="976" y="2277"/>
                    <a:pt x="814" y="2216"/>
                    <a:pt x="698" y="2104"/>
                  </a:cubicBezTo>
                  <a:cubicBezTo>
                    <a:pt x="586" y="2000"/>
                    <a:pt x="521" y="1849"/>
                    <a:pt x="521" y="1602"/>
                  </a:cubicBezTo>
                  <a:cubicBezTo>
                    <a:pt x="521" y="0"/>
                    <a:pt x="521" y="0"/>
                    <a:pt x="521" y="0"/>
                  </a:cubicBezTo>
                  <a:cubicBezTo>
                    <a:pt x="0" y="0"/>
                    <a:pt x="0" y="0"/>
                    <a:pt x="0" y="0"/>
                  </a:cubicBezTo>
                  <a:cubicBezTo>
                    <a:pt x="0" y="1563"/>
                    <a:pt x="0" y="1563"/>
                    <a:pt x="0" y="1563"/>
                  </a:cubicBezTo>
                  <a:cubicBezTo>
                    <a:pt x="0" y="1976"/>
                    <a:pt x="123" y="2262"/>
                    <a:pt x="347" y="2463"/>
                  </a:cubicBezTo>
                  <a:cubicBezTo>
                    <a:pt x="556" y="2648"/>
                    <a:pt x="853" y="2741"/>
                    <a:pt x="1158" y="2741"/>
                  </a:cubicBezTo>
                  <a:cubicBezTo>
                    <a:pt x="1463" y="2741"/>
                    <a:pt x="1760" y="2648"/>
                    <a:pt x="1968" y="2463"/>
                  </a:cubicBezTo>
                  <a:cubicBezTo>
                    <a:pt x="2192" y="2262"/>
                    <a:pt x="2316" y="1976"/>
                    <a:pt x="2316" y="1563"/>
                  </a:cubicBezTo>
                  <a:lnTo>
                    <a:pt x="2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noEditPoints="1"/>
            </p:cNvSpPr>
            <p:nvPr userDrawn="1"/>
          </p:nvSpPr>
          <p:spPr bwMode="auto">
            <a:xfrm>
              <a:off x="8145463" y="4194175"/>
              <a:ext cx="285750" cy="419100"/>
            </a:xfrm>
            <a:custGeom>
              <a:avLst/>
              <a:gdLst>
                <a:gd name="T0" fmla="*/ 1016 w 1892"/>
                <a:gd name="T1" fmla="*/ 117 h 2779"/>
                <a:gd name="T2" fmla="*/ 1635 w 1892"/>
                <a:gd name="T3" fmla="*/ 284 h 2779"/>
                <a:gd name="T4" fmla="*/ 1502 w 1892"/>
                <a:gd name="T5" fmla="*/ 474 h 2779"/>
                <a:gd name="T6" fmla="*/ 1062 w 1892"/>
                <a:gd name="T7" fmla="*/ 346 h 2779"/>
                <a:gd name="T8" fmla="*/ 528 w 1892"/>
                <a:gd name="T9" fmla="*/ 756 h 2779"/>
                <a:gd name="T10" fmla="*/ 1057 w 1892"/>
                <a:gd name="T11" fmla="*/ 1224 h 2779"/>
                <a:gd name="T12" fmla="*/ 1775 w 1892"/>
                <a:gd name="T13" fmla="*/ 1968 h 2779"/>
                <a:gd name="T14" fmla="*/ 977 w 1892"/>
                <a:gd name="T15" fmla="*/ 2662 h 2779"/>
                <a:gd name="T16" fmla="*/ 171 w 1892"/>
                <a:gd name="T17" fmla="*/ 2365 h 2779"/>
                <a:gd name="T18" fmla="*/ 343 w 1892"/>
                <a:gd name="T19" fmla="*/ 2185 h 2779"/>
                <a:gd name="T20" fmla="*/ 977 w 1892"/>
                <a:gd name="T21" fmla="*/ 2433 h 2779"/>
                <a:gd name="T22" fmla="*/ 1488 w 1892"/>
                <a:gd name="T23" fmla="*/ 1976 h 2779"/>
                <a:gd name="T24" fmla="*/ 906 w 1892"/>
                <a:gd name="T25" fmla="*/ 1427 h 2779"/>
                <a:gd name="T26" fmla="*/ 565 w 1892"/>
                <a:gd name="T27" fmla="*/ 1272 h 2779"/>
                <a:gd name="T28" fmla="*/ 241 w 1892"/>
                <a:gd name="T29" fmla="*/ 760 h 2779"/>
                <a:gd name="T30" fmla="*/ 1016 w 1892"/>
                <a:gd name="T31" fmla="*/ 117 h 2779"/>
                <a:gd name="T32" fmla="*/ 1016 w 1892"/>
                <a:gd name="T33" fmla="*/ 0 h 2779"/>
                <a:gd name="T34" fmla="*/ 124 w 1892"/>
                <a:gd name="T35" fmla="*/ 760 h 2779"/>
                <a:gd name="T36" fmla="*/ 506 w 1892"/>
                <a:gd name="T37" fmla="*/ 1374 h 2779"/>
                <a:gd name="T38" fmla="*/ 1371 w 1892"/>
                <a:gd name="T39" fmla="*/ 1976 h 2779"/>
                <a:gd name="T40" fmla="*/ 977 w 1892"/>
                <a:gd name="T41" fmla="*/ 2315 h 2779"/>
                <a:gd name="T42" fmla="*/ 340 w 1892"/>
                <a:gd name="T43" fmla="*/ 2018 h 2779"/>
                <a:gd name="T44" fmla="*/ 0 w 1892"/>
                <a:gd name="T45" fmla="*/ 2373 h 2779"/>
                <a:gd name="T46" fmla="*/ 977 w 1892"/>
                <a:gd name="T47" fmla="*/ 2779 h 2779"/>
                <a:gd name="T48" fmla="*/ 1892 w 1892"/>
                <a:gd name="T49" fmla="*/ 1968 h 2779"/>
                <a:gd name="T50" fmla="*/ 645 w 1892"/>
                <a:gd name="T51" fmla="*/ 756 h 2779"/>
                <a:gd name="T52" fmla="*/ 1062 w 1892"/>
                <a:gd name="T53" fmla="*/ 463 h 2779"/>
                <a:gd name="T54" fmla="*/ 1529 w 1892"/>
                <a:gd name="T55" fmla="*/ 640 h 2779"/>
                <a:gd name="T56" fmla="*/ 1799 w 1892"/>
                <a:gd name="T57" fmla="*/ 254 h 2779"/>
                <a:gd name="T58" fmla="*/ 1016 w 1892"/>
                <a:gd name="T59" fmla="*/ 0 h 2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92" h="2779">
                  <a:moveTo>
                    <a:pt x="1016" y="117"/>
                  </a:moveTo>
                  <a:cubicBezTo>
                    <a:pt x="1253" y="117"/>
                    <a:pt x="1449" y="169"/>
                    <a:pt x="1635" y="284"/>
                  </a:cubicBezTo>
                  <a:cubicBezTo>
                    <a:pt x="1502" y="474"/>
                    <a:pt x="1502" y="474"/>
                    <a:pt x="1502" y="474"/>
                  </a:cubicBezTo>
                  <a:cubicBezTo>
                    <a:pt x="1374" y="394"/>
                    <a:pt x="1212" y="346"/>
                    <a:pt x="1062" y="346"/>
                  </a:cubicBezTo>
                  <a:cubicBezTo>
                    <a:pt x="748" y="346"/>
                    <a:pt x="528" y="515"/>
                    <a:pt x="528" y="756"/>
                  </a:cubicBezTo>
                  <a:cubicBezTo>
                    <a:pt x="528" y="1014"/>
                    <a:pt x="785" y="1116"/>
                    <a:pt x="1057" y="1224"/>
                  </a:cubicBezTo>
                  <a:cubicBezTo>
                    <a:pt x="1410" y="1364"/>
                    <a:pt x="1775" y="1509"/>
                    <a:pt x="1775" y="1968"/>
                  </a:cubicBezTo>
                  <a:cubicBezTo>
                    <a:pt x="1775" y="2402"/>
                    <a:pt x="1369" y="2662"/>
                    <a:pt x="977" y="2662"/>
                  </a:cubicBezTo>
                  <a:cubicBezTo>
                    <a:pt x="693" y="2662"/>
                    <a:pt x="416" y="2559"/>
                    <a:pt x="171" y="2365"/>
                  </a:cubicBezTo>
                  <a:cubicBezTo>
                    <a:pt x="343" y="2185"/>
                    <a:pt x="343" y="2185"/>
                    <a:pt x="343" y="2185"/>
                  </a:cubicBezTo>
                  <a:cubicBezTo>
                    <a:pt x="524" y="2341"/>
                    <a:pt x="754" y="2433"/>
                    <a:pt x="977" y="2433"/>
                  </a:cubicBezTo>
                  <a:cubicBezTo>
                    <a:pt x="1273" y="2433"/>
                    <a:pt x="1488" y="2240"/>
                    <a:pt x="1488" y="1976"/>
                  </a:cubicBezTo>
                  <a:cubicBezTo>
                    <a:pt x="1488" y="1656"/>
                    <a:pt x="1192" y="1539"/>
                    <a:pt x="906" y="1427"/>
                  </a:cubicBezTo>
                  <a:cubicBezTo>
                    <a:pt x="790" y="1381"/>
                    <a:pt x="669" y="1334"/>
                    <a:pt x="565" y="1272"/>
                  </a:cubicBezTo>
                  <a:cubicBezTo>
                    <a:pt x="344" y="1144"/>
                    <a:pt x="241" y="981"/>
                    <a:pt x="241" y="760"/>
                  </a:cubicBezTo>
                  <a:cubicBezTo>
                    <a:pt x="241" y="342"/>
                    <a:pt x="640" y="117"/>
                    <a:pt x="1016" y="117"/>
                  </a:cubicBezTo>
                  <a:moveTo>
                    <a:pt x="1016" y="0"/>
                  </a:moveTo>
                  <a:cubicBezTo>
                    <a:pt x="568" y="0"/>
                    <a:pt x="124" y="278"/>
                    <a:pt x="124" y="760"/>
                  </a:cubicBezTo>
                  <a:cubicBezTo>
                    <a:pt x="124" y="1065"/>
                    <a:pt x="294" y="1250"/>
                    <a:pt x="506" y="1374"/>
                  </a:cubicBezTo>
                  <a:cubicBezTo>
                    <a:pt x="869" y="1586"/>
                    <a:pt x="1371" y="1628"/>
                    <a:pt x="1371" y="1976"/>
                  </a:cubicBezTo>
                  <a:cubicBezTo>
                    <a:pt x="1371" y="2173"/>
                    <a:pt x="1209" y="2315"/>
                    <a:pt x="977" y="2315"/>
                  </a:cubicBezTo>
                  <a:cubicBezTo>
                    <a:pt x="730" y="2315"/>
                    <a:pt x="494" y="2188"/>
                    <a:pt x="340" y="2018"/>
                  </a:cubicBezTo>
                  <a:cubicBezTo>
                    <a:pt x="0" y="2373"/>
                    <a:pt x="0" y="2373"/>
                    <a:pt x="0" y="2373"/>
                  </a:cubicBezTo>
                  <a:cubicBezTo>
                    <a:pt x="278" y="2628"/>
                    <a:pt x="614" y="2779"/>
                    <a:pt x="977" y="2779"/>
                  </a:cubicBezTo>
                  <a:cubicBezTo>
                    <a:pt x="1463" y="2779"/>
                    <a:pt x="1892" y="2447"/>
                    <a:pt x="1892" y="1968"/>
                  </a:cubicBezTo>
                  <a:cubicBezTo>
                    <a:pt x="1892" y="1057"/>
                    <a:pt x="645" y="1192"/>
                    <a:pt x="645" y="756"/>
                  </a:cubicBezTo>
                  <a:cubicBezTo>
                    <a:pt x="645" y="548"/>
                    <a:pt x="865" y="463"/>
                    <a:pt x="1062" y="463"/>
                  </a:cubicBezTo>
                  <a:cubicBezTo>
                    <a:pt x="1239" y="463"/>
                    <a:pt x="1421" y="540"/>
                    <a:pt x="1529" y="640"/>
                  </a:cubicBezTo>
                  <a:cubicBezTo>
                    <a:pt x="1799" y="254"/>
                    <a:pt x="1799" y="254"/>
                    <a:pt x="1799" y="254"/>
                  </a:cubicBezTo>
                  <a:cubicBezTo>
                    <a:pt x="1544" y="65"/>
                    <a:pt x="1290" y="0"/>
                    <a:pt x="10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8497888" y="4200525"/>
              <a:ext cx="407988" cy="406400"/>
            </a:xfrm>
            <a:custGeom>
              <a:avLst/>
              <a:gdLst>
                <a:gd name="T0" fmla="*/ 246 w 257"/>
                <a:gd name="T1" fmla="*/ 11 h 256"/>
                <a:gd name="T2" fmla="*/ 246 w 257"/>
                <a:gd name="T3" fmla="*/ 245 h 256"/>
                <a:gd name="T4" fmla="*/ 219 w 257"/>
                <a:gd name="T5" fmla="*/ 245 h 256"/>
                <a:gd name="T6" fmla="*/ 219 w 257"/>
                <a:gd name="T7" fmla="*/ 113 h 256"/>
                <a:gd name="T8" fmla="*/ 219 w 257"/>
                <a:gd name="T9" fmla="*/ 74 h 256"/>
                <a:gd name="T10" fmla="*/ 198 w 257"/>
                <a:gd name="T11" fmla="*/ 108 h 256"/>
                <a:gd name="T12" fmla="*/ 140 w 257"/>
                <a:gd name="T13" fmla="*/ 203 h 256"/>
                <a:gd name="T14" fmla="*/ 118 w 257"/>
                <a:gd name="T15" fmla="*/ 203 h 256"/>
                <a:gd name="T16" fmla="*/ 59 w 257"/>
                <a:gd name="T17" fmla="*/ 108 h 256"/>
                <a:gd name="T18" fmla="*/ 39 w 257"/>
                <a:gd name="T19" fmla="*/ 74 h 256"/>
                <a:gd name="T20" fmla="*/ 39 w 257"/>
                <a:gd name="T21" fmla="*/ 113 h 256"/>
                <a:gd name="T22" fmla="*/ 39 w 257"/>
                <a:gd name="T23" fmla="*/ 245 h 256"/>
                <a:gd name="T24" fmla="*/ 11 w 257"/>
                <a:gd name="T25" fmla="*/ 245 h 256"/>
                <a:gd name="T26" fmla="*/ 11 w 257"/>
                <a:gd name="T27" fmla="*/ 11 h 256"/>
                <a:gd name="T28" fmla="*/ 29 w 257"/>
                <a:gd name="T29" fmla="*/ 11 h 256"/>
                <a:gd name="T30" fmla="*/ 119 w 257"/>
                <a:gd name="T31" fmla="*/ 159 h 256"/>
                <a:gd name="T32" fmla="*/ 129 w 257"/>
                <a:gd name="T33" fmla="*/ 175 h 256"/>
                <a:gd name="T34" fmla="*/ 138 w 257"/>
                <a:gd name="T35" fmla="*/ 159 h 256"/>
                <a:gd name="T36" fmla="*/ 229 w 257"/>
                <a:gd name="T37" fmla="*/ 11 h 256"/>
                <a:gd name="T38" fmla="*/ 246 w 257"/>
                <a:gd name="T39" fmla="*/ 11 h 256"/>
                <a:gd name="T40" fmla="*/ 257 w 257"/>
                <a:gd name="T41" fmla="*/ 0 h 256"/>
                <a:gd name="T42" fmla="*/ 223 w 257"/>
                <a:gd name="T43" fmla="*/ 0 h 256"/>
                <a:gd name="T44" fmla="*/ 129 w 257"/>
                <a:gd name="T45" fmla="*/ 153 h 256"/>
                <a:gd name="T46" fmla="*/ 35 w 257"/>
                <a:gd name="T47" fmla="*/ 0 h 256"/>
                <a:gd name="T48" fmla="*/ 0 w 257"/>
                <a:gd name="T49" fmla="*/ 0 h 256"/>
                <a:gd name="T50" fmla="*/ 0 w 257"/>
                <a:gd name="T51" fmla="*/ 256 h 256"/>
                <a:gd name="T52" fmla="*/ 50 w 257"/>
                <a:gd name="T53" fmla="*/ 256 h 256"/>
                <a:gd name="T54" fmla="*/ 50 w 257"/>
                <a:gd name="T55" fmla="*/ 113 h 256"/>
                <a:gd name="T56" fmla="*/ 112 w 257"/>
                <a:gd name="T57" fmla="*/ 214 h 256"/>
                <a:gd name="T58" fmla="*/ 146 w 257"/>
                <a:gd name="T59" fmla="*/ 214 h 256"/>
                <a:gd name="T60" fmla="*/ 208 w 257"/>
                <a:gd name="T61" fmla="*/ 113 h 256"/>
                <a:gd name="T62" fmla="*/ 208 w 257"/>
                <a:gd name="T63" fmla="*/ 256 h 256"/>
                <a:gd name="T64" fmla="*/ 257 w 257"/>
                <a:gd name="T65" fmla="*/ 256 h 256"/>
                <a:gd name="T66" fmla="*/ 257 w 257"/>
                <a:gd name="T6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56">
                  <a:moveTo>
                    <a:pt x="246" y="11"/>
                  </a:moveTo>
                  <a:lnTo>
                    <a:pt x="246" y="245"/>
                  </a:lnTo>
                  <a:lnTo>
                    <a:pt x="219" y="245"/>
                  </a:lnTo>
                  <a:lnTo>
                    <a:pt x="219" y="113"/>
                  </a:lnTo>
                  <a:lnTo>
                    <a:pt x="219" y="74"/>
                  </a:lnTo>
                  <a:lnTo>
                    <a:pt x="198" y="108"/>
                  </a:lnTo>
                  <a:lnTo>
                    <a:pt x="140" y="203"/>
                  </a:lnTo>
                  <a:lnTo>
                    <a:pt x="118" y="203"/>
                  </a:lnTo>
                  <a:lnTo>
                    <a:pt x="59" y="108"/>
                  </a:lnTo>
                  <a:lnTo>
                    <a:pt x="39" y="74"/>
                  </a:lnTo>
                  <a:lnTo>
                    <a:pt x="39" y="113"/>
                  </a:lnTo>
                  <a:lnTo>
                    <a:pt x="39" y="245"/>
                  </a:lnTo>
                  <a:lnTo>
                    <a:pt x="11" y="245"/>
                  </a:lnTo>
                  <a:lnTo>
                    <a:pt x="11" y="11"/>
                  </a:lnTo>
                  <a:lnTo>
                    <a:pt x="29" y="11"/>
                  </a:lnTo>
                  <a:lnTo>
                    <a:pt x="119" y="159"/>
                  </a:lnTo>
                  <a:lnTo>
                    <a:pt x="129" y="175"/>
                  </a:lnTo>
                  <a:lnTo>
                    <a:pt x="138" y="159"/>
                  </a:lnTo>
                  <a:lnTo>
                    <a:pt x="229" y="11"/>
                  </a:lnTo>
                  <a:lnTo>
                    <a:pt x="246" y="11"/>
                  </a:lnTo>
                  <a:close/>
                  <a:moveTo>
                    <a:pt x="257" y="0"/>
                  </a:moveTo>
                  <a:lnTo>
                    <a:pt x="223" y="0"/>
                  </a:lnTo>
                  <a:lnTo>
                    <a:pt x="129" y="153"/>
                  </a:lnTo>
                  <a:lnTo>
                    <a:pt x="35" y="0"/>
                  </a:lnTo>
                  <a:lnTo>
                    <a:pt x="0" y="0"/>
                  </a:lnTo>
                  <a:lnTo>
                    <a:pt x="0" y="256"/>
                  </a:lnTo>
                  <a:lnTo>
                    <a:pt x="50" y="256"/>
                  </a:lnTo>
                  <a:lnTo>
                    <a:pt x="50" y="113"/>
                  </a:lnTo>
                  <a:lnTo>
                    <a:pt x="112" y="214"/>
                  </a:lnTo>
                  <a:lnTo>
                    <a:pt x="146" y="214"/>
                  </a:lnTo>
                  <a:lnTo>
                    <a:pt x="208" y="113"/>
                  </a:lnTo>
                  <a:lnTo>
                    <a:pt x="208" y="256"/>
                  </a:lnTo>
                  <a:lnTo>
                    <a:pt x="257" y="256"/>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0"/>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moveTo>
                    <a:pt x="78" y="167"/>
                  </a:moveTo>
                  <a:lnTo>
                    <a:pt x="95" y="167"/>
                  </a:lnTo>
                  <a:lnTo>
                    <a:pt x="160" y="167"/>
                  </a:lnTo>
                  <a:lnTo>
                    <a:pt x="177" y="167"/>
                  </a:lnTo>
                  <a:lnTo>
                    <a:pt x="170" y="151"/>
                  </a:lnTo>
                  <a:lnTo>
                    <a:pt x="138" y="75"/>
                  </a:lnTo>
                  <a:lnTo>
                    <a:pt x="127" y="51"/>
                  </a:lnTo>
                  <a:lnTo>
                    <a:pt x="117" y="75"/>
                  </a:lnTo>
                  <a:lnTo>
                    <a:pt x="84" y="151"/>
                  </a:lnTo>
                  <a:lnTo>
                    <a:pt x="78" y="167"/>
                  </a:lnTo>
                  <a:moveTo>
                    <a:pt x="145" y="0"/>
                  </a:moveTo>
                  <a:lnTo>
                    <a:pt x="110" y="0"/>
                  </a:lnTo>
                  <a:lnTo>
                    <a:pt x="0" y="256"/>
                  </a:lnTo>
                  <a:lnTo>
                    <a:pt x="52" y="256"/>
                  </a:lnTo>
                  <a:lnTo>
                    <a:pt x="76" y="199"/>
                  </a:lnTo>
                  <a:lnTo>
                    <a:pt x="179" y="199"/>
                  </a:lnTo>
                  <a:lnTo>
                    <a:pt x="203" y="256"/>
                  </a:lnTo>
                  <a:lnTo>
                    <a:pt x="255" y="256"/>
                  </a:lnTo>
                  <a:lnTo>
                    <a:pt x="145" y="0"/>
                  </a:lnTo>
                  <a:moveTo>
                    <a:pt x="95" y="156"/>
                  </a:moveTo>
                  <a:lnTo>
                    <a:pt x="127" y="80"/>
                  </a:lnTo>
                  <a:lnTo>
                    <a:pt x="160" y="156"/>
                  </a:lnTo>
                  <a:lnTo>
                    <a:pt x="95" y="1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1"/>
            <p:cNvSpPr>
              <a:spLocks noEditPoints="1"/>
            </p:cNvSpPr>
            <p:nvPr userDrawn="1"/>
          </p:nvSpPr>
          <p:spPr bwMode="auto">
            <a:xfrm>
              <a:off x="9763125" y="4200525"/>
              <a:ext cx="295275" cy="406400"/>
            </a:xfrm>
            <a:custGeom>
              <a:avLst/>
              <a:gdLst>
                <a:gd name="T0" fmla="*/ 175 w 186"/>
                <a:gd name="T1" fmla="*/ 11 h 256"/>
                <a:gd name="T2" fmla="*/ 175 w 186"/>
                <a:gd name="T3" fmla="*/ 32 h 256"/>
                <a:gd name="T4" fmla="*/ 118 w 186"/>
                <a:gd name="T5" fmla="*/ 32 h 256"/>
                <a:gd name="T6" fmla="*/ 107 w 186"/>
                <a:gd name="T7" fmla="*/ 32 h 256"/>
                <a:gd name="T8" fmla="*/ 107 w 186"/>
                <a:gd name="T9" fmla="*/ 44 h 256"/>
                <a:gd name="T10" fmla="*/ 107 w 186"/>
                <a:gd name="T11" fmla="*/ 245 h 256"/>
                <a:gd name="T12" fmla="*/ 80 w 186"/>
                <a:gd name="T13" fmla="*/ 245 h 256"/>
                <a:gd name="T14" fmla="*/ 80 w 186"/>
                <a:gd name="T15" fmla="*/ 44 h 256"/>
                <a:gd name="T16" fmla="*/ 80 w 186"/>
                <a:gd name="T17" fmla="*/ 32 h 256"/>
                <a:gd name="T18" fmla="*/ 68 w 186"/>
                <a:gd name="T19" fmla="*/ 32 h 256"/>
                <a:gd name="T20" fmla="*/ 12 w 186"/>
                <a:gd name="T21" fmla="*/ 32 h 256"/>
                <a:gd name="T22" fmla="*/ 12 w 186"/>
                <a:gd name="T23" fmla="*/ 11 h 256"/>
                <a:gd name="T24" fmla="*/ 175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5" y="11"/>
                  </a:moveTo>
                  <a:lnTo>
                    <a:pt x="175" y="32"/>
                  </a:lnTo>
                  <a:lnTo>
                    <a:pt x="118" y="32"/>
                  </a:lnTo>
                  <a:lnTo>
                    <a:pt x="107" y="32"/>
                  </a:lnTo>
                  <a:lnTo>
                    <a:pt x="107" y="44"/>
                  </a:lnTo>
                  <a:lnTo>
                    <a:pt x="107" y="245"/>
                  </a:lnTo>
                  <a:lnTo>
                    <a:pt x="80" y="245"/>
                  </a:lnTo>
                  <a:lnTo>
                    <a:pt x="80" y="44"/>
                  </a:lnTo>
                  <a:lnTo>
                    <a:pt x="80" y="32"/>
                  </a:lnTo>
                  <a:lnTo>
                    <a:pt x="68" y="32"/>
                  </a:lnTo>
                  <a:lnTo>
                    <a:pt x="12" y="32"/>
                  </a:lnTo>
                  <a:lnTo>
                    <a:pt x="12" y="11"/>
                  </a:lnTo>
                  <a:lnTo>
                    <a:pt x="175"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9407525" y="4198938"/>
              <a:ext cx="338138" cy="407988"/>
            </a:xfrm>
            <a:custGeom>
              <a:avLst/>
              <a:gdLst>
                <a:gd name="T0" fmla="*/ 1027 w 2239"/>
                <a:gd name="T1" fmla="*/ 113 h 2704"/>
                <a:gd name="T2" fmla="*/ 1731 w 2239"/>
                <a:gd name="T3" fmla="*/ 361 h 2704"/>
                <a:gd name="T4" fmla="*/ 1923 w 2239"/>
                <a:gd name="T5" fmla="*/ 849 h 2704"/>
                <a:gd name="T6" fmla="*/ 1923 w 2239"/>
                <a:gd name="T7" fmla="*/ 856 h 2704"/>
                <a:gd name="T8" fmla="*/ 1250 w 2239"/>
                <a:gd name="T9" fmla="*/ 1578 h 2704"/>
                <a:gd name="T10" fmla="*/ 2011 w 2239"/>
                <a:gd name="T11" fmla="*/ 2590 h 2704"/>
                <a:gd name="T12" fmla="*/ 1668 w 2239"/>
                <a:gd name="T13" fmla="*/ 2590 h 2704"/>
                <a:gd name="T14" fmla="*/ 949 w 2239"/>
                <a:gd name="T15" fmla="*/ 1628 h 2704"/>
                <a:gd name="T16" fmla="*/ 393 w 2239"/>
                <a:gd name="T17" fmla="*/ 1628 h 2704"/>
                <a:gd name="T18" fmla="*/ 393 w 2239"/>
                <a:gd name="T19" fmla="*/ 2590 h 2704"/>
                <a:gd name="T20" fmla="*/ 114 w 2239"/>
                <a:gd name="T21" fmla="*/ 2590 h 2704"/>
                <a:gd name="T22" fmla="*/ 114 w 2239"/>
                <a:gd name="T23" fmla="*/ 113 h 2704"/>
                <a:gd name="T24" fmla="*/ 1027 w 2239"/>
                <a:gd name="T25" fmla="*/ 113 h 2704"/>
                <a:gd name="T26" fmla="*/ 393 w 2239"/>
                <a:gd name="T27" fmla="*/ 1377 h 2704"/>
                <a:gd name="T28" fmla="*/ 1003 w 2239"/>
                <a:gd name="T29" fmla="*/ 1377 h 2704"/>
                <a:gd name="T30" fmla="*/ 1639 w 2239"/>
                <a:gd name="T31" fmla="*/ 867 h 2704"/>
                <a:gd name="T32" fmla="*/ 1639 w 2239"/>
                <a:gd name="T33" fmla="*/ 860 h 2704"/>
                <a:gd name="T34" fmla="*/ 1006 w 2239"/>
                <a:gd name="T35" fmla="*/ 372 h 2704"/>
                <a:gd name="T36" fmla="*/ 393 w 2239"/>
                <a:gd name="T37" fmla="*/ 372 h 2704"/>
                <a:gd name="T38" fmla="*/ 393 w 2239"/>
                <a:gd name="T39" fmla="*/ 1377 h 2704"/>
                <a:gd name="T40" fmla="*/ 1027 w 2239"/>
                <a:gd name="T41" fmla="*/ 0 h 2704"/>
                <a:gd name="T42" fmla="*/ 114 w 2239"/>
                <a:gd name="T43" fmla="*/ 0 h 2704"/>
                <a:gd name="T44" fmla="*/ 0 w 2239"/>
                <a:gd name="T45" fmla="*/ 0 h 2704"/>
                <a:gd name="T46" fmla="*/ 0 w 2239"/>
                <a:gd name="T47" fmla="*/ 113 h 2704"/>
                <a:gd name="T48" fmla="*/ 0 w 2239"/>
                <a:gd name="T49" fmla="*/ 2590 h 2704"/>
                <a:gd name="T50" fmla="*/ 0 w 2239"/>
                <a:gd name="T51" fmla="*/ 2704 h 2704"/>
                <a:gd name="T52" fmla="*/ 114 w 2239"/>
                <a:gd name="T53" fmla="*/ 2704 h 2704"/>
                <a:gd name="T54" fmla="*/ 393 w 2239"/>
                <a:gd name="T55" fmla="*/ 2704 h 2704"/>
                <a:gd name="T56" fmla="*/ 507 w 2239"/>
                <a:gd name="T57" fmla="*/ 2704 h 2704"/>
                <a:gd name="T58" fmla="*/ 507 w 2239"/>
                <a:gd name="T59" fmla="*/ 2590 h 2704"/>
                <a:gd name="T60" fmla="*/ 507 w 2239"/>
                <a:gd name="T61" fmla="*/ 1742 h 2704"/>
                <a:gd name="T62" fmla="*/ 892 w 2239"/>
                <a:gd name="T63" fmla="*/ 1742 h 2704"/>
                <a:gd name="T64" fmla="*/ 1577 w 2239"/>
                <a:gd name="T65" fmla="*/ 2658 h 2704"/>
                <a:gd name="T66" fmla="*/ 1611 w 2239"/>
                <a:gd name="T67" fmla="*/ 2704 h 2704"/>
                <a:gd name="T68" fmla="*/ 1668 w 2239"/>
                <a:gd name="T69" fmla="*/ 2704 h 2704"/>
                <a:gd name="T70" fmla="*/ 2011 w 2239"/>
                <a:gd name="T71" fmla="*/ 2704 h 2704"/>
                <a:gd name="T72" fmla="*/ 2239 w 2239"/>
                <a:gd name="T73" fmla="*/ 2704 h 2704"/>
                <a:gd name="T74" fmla="*/ 2102 w 2239"/>
                <a:gd name="T75" fmla="*/ 2522 h 2704"/>
                <a:gd name="T76" fmla="*/ 1443 w 2239"/>
                <a:gd name="T77" fmla="*/ 1646 h 2704"/>
                <a:gd name="T78" fmla="*/ 2036 w 2239"/>
                <a:gd name="T79" fmla="*/ 856 h 2704"/>
                <a:gd name="T80" fmla="*/ 2036 w 2239"/>
                <a:gd name="T81" fmla="*/ 849 h 2704"/>
                <a:gd name="T82" fmla="*/ 1812 w 2239"/>
                <a:gd name="T83" fmla="*/ 281 h 2704"/>
                <a:gd name="T84" fmla="*/ 1027 w 2239"/>
                <a:gd name="T85" fmla="*/ 0 h 2704"/>
                <a:gd name="T86" fmla="*/ 507 w 2239"/>
                <a:gd name="T87" fmla="*/ 485 h 2704"/>
                <a:gd name="T88" fmla="*/ 1006 w 2239"/>
                <a:gd name="T89" fmla="*/ 485 h 2704"/>
                <a:gd name="T90" fmla="*/ 1526 w 2239"/>
                <a:gd name="T91" fmla="*/ 860 h 2704"/>
                <a:gd name="T92" fmla="*/ 1526 w 2239"/>
                <a:gd name="T93" fmla="*/ 867 h 2704"/>
                <a:gd name="T94" fmla="*/ 1003 w 2239"/>
                <a:gd name="T95" fmla="*/ 1263 h 2704"/>
                <a:gd name="T96" fmla="*/ 507 w 2239"/>
                <a:gd name="T97" fmla="*/ 1263 h 2704"/>
                <a:gd name="T98" fmla="*/ 507 w 2239"/>
                <a:gd name="T99" fmla="*/ 485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9" h="2704">
                  <a:moveTo>
                    <a:pt x="1027" y="113"/>
                  </a:moveTo>
                  <a:cubicBezTo>
                    <a:pt x="1332" y="113"/>
                    <a:pt x="1576" y="205"/>
                    <a:pt x="1731" y="361"/>
                  </a:cubicBezTo>
                  <a:cubicBezTo>
                    <a:pt x="1852" y="481"/>
                    <a:pt x="1923" y="655"/>
                    <a:pt x="1923" y="849"/>
                  </a:cubicBezTo>
                  <a:cubicBezTo>
                    <a:pt x="1923" y="856"/>
                    <a:pt x="1923" y="856"/>
                    <a:pt x="1923" y="856"/>
                  </a:cubicBezTo>
                  <a:cubicBezTo>
                    <a:pt x="1923" y="1267"/>
                    <a:pt x="1639" y="1508"/>
                    <a:pt x="1250" y="1578"/>
                  </a:cubicBezTo>
                  <a:cubicBezTo>
                    <a:pt x="2011" y="2590"/>
                    <a:pt x="2011" y="2590"/>
                    <a:pt x="2011" y="2590"/>
                  </a:cubicBezTo>
                  <a:cubicBezTo>
                    <a:pt x="1668" y="2590"/>
                    <a:pt x="1668" y="2590"/>
                    <a:pt x="1668" y="2590"/>
                  </a:cubicBezTo>
                  <a:cubicBezTo>
                    <a:pt x="949" y="1628"/>
                    <a:pt x="949" y="1628"/>
                    <a:pt x="949" y="1628"/>
                  </a:cubicBezTo>
                  <a:cubicBezTo>
                    <a:pt x="393" y="1628"/>
                    <a:pt x="393" y="1628"/>
                    <a:pt x="393" y="1628"/>
                  </a:cubicBezTo>
                  <a:cubicBezTo>
                    <a:pt x="393" y="2590"/>
                    <a:pt x="393" y="2590"/>
                    <a:pt x="393" y="2590"/>
                  </a:cubicBezTo>
                  <a:cubicBezTo>
                    <a:pt x="114" y="2590"/>
                    <a:pt x="114" y="2590"/>
                    <a:pt x="114" y="2590"/>
                  </a:cubicBezTo>
                  <a:cubicBezTo>
                    <a:pt x="114" y="113"/>
                    <a:pt x="114" y="113"/>
                    <a:pt x="114" y="113"/>
                  </a:cubicBezTo>
                  <a:cubicBezTo>
                    <a:pt x="1027" y="113"/>
                    <a:pt x="1027" y="113"/>
                    <a:pt x="1027" y="113"/>
                  </a:cubicBezTo>
                  <a:moveTo>
                    <a:pt x="393" y="1377"/>
                  </a:moveTo>
                  <a:cubicBezTo>
                    <a:pt x="1003" y="1377"/>
                    <a:pt x="1003" y="1377"/>
                    <a:pt x="1003" y="1377"/>
                  </a:cubicBezTo>
                  <a:cubicBezTo>
                    <a:pt x="1374" y="1377"/>
                    <a:pt x="1639" y="1186"/>
                    <a:pt x="1639" y="867"/>
                  </a:cubicBezTo>
                  <a:cubicBezTo>
                    <a:pt x="1639" y="860"/>
                    <a:pt x="1639" y="860"/>
                    <a:pt x="1639" y="860"/>
                  </a:cubicBezTo>
                  <a:cubicBezTo>
                    <a:pt x="1639" y="556"/>
                    <a:pt x="1406" y="372"/>
                    <a:pt x="1006" y="372"/>
                  </a:cubicBezTo>
                  <a:cubicBezTo>
                    <a:pt x="393" y="372"/>
                    <a:pt x="393" y="372"/>
                    <a:pt x="393" y="372"/>
                  </a:cubicBezTo>
                  <a:cubicBezTo>
                    <a:pt x="393" y="1377"/>
                    <a:pt x="393" y="1377"/>
                    <a:pt x="393" y="1377"/>
                  </a:cubicBezTo>
                  <a:moveTo>
                    <a:pt x="1027" y="0"/>
                  </a:moveTo>
                  <a:cubicBezTo>
                    <a:pt x="114" y="0"/>
                    <a:pt x="114" y="0"/>
                    <a:pt x="114" y="0"/>
                  </a:cubicBezTo>
                  <a:cubicBezTo>
                    <a:pt x="0" y="0"/>
                    <a:pt x="0" y="0"/>
                    <a:pt x="0" y="0"/>
                  </a:cubicBezTo>
                  <a:cubicBezTo>
                    <a:pt x="0" y="113"/>
                    <a:pt x="0" y="113"/>
                    <a:pt x="0" y="113"/>
                  </a:cubicBezTo>
                  <a:cubicBezTo>
                    <a:pt x="0" y="2590"/>
                    <a:pt x="0" y="2590"/>
                    <a:pt x="0" y="2590"/>
                  </a:cubicBezTo>
                  <a:cubicBezTo>
                    <a:pt x="0" y="2704"/>
                    <a:pt x="0" y="2704"/>
                    <a:pt x="0" y="2704"/>
                  </a:cubicBezTo>
                  <a:cubicBezTo>
                    <a:pt x="114" y="2704"/>
                    <a:pt x="114" y="2704"/>
                    <a:pt x="114" y="2704"/>
                  </a:cubicBezTo>
                  <a:cubicBezTo>
                    <a:pt x="393" y="2704"/>
                    <a:pt x="393" y="2704"/>
                    <a:pt x="393" y="2704"/>
                  </a:cubicBezTo>
                  <a:cubicBezTo>
                    <a:pt x="507" y="2704"/>
                    <a:pt x="507" y="2704"/>
                    <a:pt x="507" y="2704"/>
                  </a:cubicBezTo>
                  <a:cubicBezTo>
                    <a:pt x="507" y="2590"/>
                    <a:pt x="507" y="2590"/>
                    <a:pt x="507" y="2590"/>
                  </a:cubicBezTo>
                  <a:cubicBezTo>
                    <a:pt x="507" y="1742"/>
                    <a:pt x="507" y="1742"/>
                    <a:pt x="507" y="1742"/>
                  </a:cubicBezTo>
                  <a:cubicBezTo>
                    <a:pt x="892" y="1742"/>
                    <a:pt x="892" y="1742"/>
                    <a:pt x="892" y="1742"/>
                  </a:cubicBezTo>
                  <a:cubicBezTo>
                    <a:pt x="1577" y="2658"/>
                    <a:pt x="1577" y="2658"/>
                    <a:pt x="1577" y="2658"/>
                  </a:cubicBezTo>
                  <a:cubicBezTo>
                    <a:pt x="1611" y="2704"/>
                    <a:pt x="1611" y="2704"/>
                    <a:pt x="1611" y="2704"/>
                  </a:cubicBezTo>
                  <a:cubicBezTo>
                    <a:pt x="1668" y="2704"/>
                    <a:pt x="1668" y="2704"/>
                    <a:pt x="1668" y="2704"/>
                  </a:cubicBezTo>
                  <a:cubicBezTo>
                    <a:pt x="2011" y="2704"/>
                    <a:pt x="2011" y="2704"/>
                    <a:pt x="2011" y="2704"/>
                  </a:cubicBezTo>
                  <a:cubicBezTo>
                    <a:pt x="2239" y="2704"/>
                    <a:pt x="2239" y="2704"/>
                    <a:pt x="2239" y="2704"/>
                  </a:cubicBezTo>
                  <a:cubicBezTo>
                    <a:pt x="2102" y="2522"/>
                    <a:pt x="2102" y="2522"/>
                    <a:pt x="2102" y="2522"/>
                  </a:cubicBezTo>
                  <a:cubicBezTo>
                    <a:pt x="1443" y="1646"/>
                    <a:pt x="1443" y="1646"/>
                    <a:pt x="1443" y="1646"/>
                  </a:cubicBezTo>
                  <a:cubicBezTo>
                    <a:pt x="1818" y="1522"/>
                    <a:pt x="2036" y="1236"/>
                    <a:pt x="2036" y="856"/>
                  </a:cubicBezTo>
                  <a:cubicBezTo>
                    <a:pt x="2036" y="849"/>
                    <a:pt x="2036" y="849"/>
                    <a:pt x="2036" y="849"/>
                  </a:cubicBezTo>
                  <a:cubicBezTo>
                    <a:pt x="2036" y="627"/>
                    <a:pt x="1956" y="426"/>
                    <a:pt x="1812" y="281"/>
                  </a:cubicBezTo>
                  <a:cubicBezTo>
                    <a:pt x="1631" y="100"/>
                    <a:pt x="1352" y="0"/>
                    <a:pt x="1027" y="0"/>
                  </a:cubicBezTo>
                  <a:moveTo>
                    <a:pt x="507" y="485"/>
                  </a:moveTo>
                  <a:cubicBezTo>
                    <a:pt x="1006" y="485"/>
                    <a:pt x="1006" y="485"/>
                    <a:pt x="1006" y="485"/>
                  </a:cubicBezTo>
                  <a:cubicBezTo>
                    <a:pt x="1458" y="485"/>
                    <a:pt x="1526" y="720"/>
                    <a:pt x="1526" y="860"/>
                  </a:cubicBezTo>
                  <a:cubicBezTo>
                    <a:pt x="1526" y="867"/>
                    <a:pt x="1526" y="867"/>
                    <a:pt x="1526" y="867"/>
                  </a:cubicBezTo>
                  <a:cubicBezTo>
                    <a:pt x="1526" y="1059"/>
                    <a:pt x="1388" y="1263"/>
                    <a:pt x="1003" y="1263"/>
                  </a:cubicBezTo>
                  <a:cubicBezTo>
                    <a:pt x="507" y="1263"/>
                    <a:pt x="507" y="1263"/>
                    <a:pt x="507" y="1263"/>
                  </a:cubicBezTo>
                  <a:lnTo>
                    <a:pt x="507" y="4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noEditPoints="1"/>
            </p:cNvSpPr>
            <p:nvPr userDrawn="1"/>
          </p:nvSpPr>
          <p:spPr bwMode="auto">
            <a:xfrm>
              <a:off x="6905625" y="4194175"/>
              <a:ext cx="450850" cy="419100"/>
            </a:xfrm>
            <a:custGeom>
              <a:avLst/>
              <a:gdLst>
                <a:gd name="T0" fmla="*/ 2979 w 2979"/>
                <a:gd name="T1" fmla="*/ 1386 h 2771"/>
                <a:gd name="T2" fmla="*/ 1619 w 2979"/>
                <a:gd name="T3" fmla="*/ 2 h 2771"/>
                <a:gd name="T4" fmla="*/ 1562 w 2979"/>
                <a:gd name="T5" fmla="*/ 2 h 2771"/>
                <a:gd name="T6" fmla="*/ 1279 w 2979"/>
                <a:gd name="T7" fmla="*/ 6 h 2771"/>
                <a:gd name="T8" fmla="*/ 0 w 2979"/>
                <a:gd name="T9" fmla="*/ 1386 h 2771"/>
                <a:gd name="T10" fmla="*/ 1375 w 2979"/>
                <a:gd name="T11" fmla="*/ 2770 h 2771"/>
                <a:gd name="T12" fmla="*/ 1429 w 2979"/>
                <a:gd name="T13" fmla="*/ 2770 h 2771"/>
                <a:gd name="T14" fmla="*/ 1516 w 2979"/>
                <a:gd name="T15" fmla="*/ 2771 h 2771"/>
                <a:gd name="T16" fmla="*/ 1639 w 2979"/>
                <a:gd name="T17" fmla="*/ 2766 h 2771"/>
                <a:gd name="T18" fmla="*/ 2979 w 2979"/>
                <a:gd name="T19" fmla="*/ 1386 h 2771"/>
                <a:gd name="T20" fmla="*/ 106 w 2979"/>
                <a:gd name="T21" fmla="*/ 1386 h 2771"/>
                <a:gd name="T22" fmla="*/ 1343 w 2979"/>
                <a:gd name="T23" fmla="*/ 111 h 2771"/>
                <a:gd name="T24" fmla="*/ 2506 w 2979"/>
                <a:gd name="T25" fmla="*/ 1386 h 2771"/>
                <a:gd name="T26" fmla="*/ 2504 w 2979"/>
                <a:gd name="T27" fmla="*/ 1386 h 2771"/>
                <a:gd name="T28" fmla="*/ 1768 w 2979"/>
                <a:gd name="T29" fmla="*/ 2300 h 2771"/>
                <a:gd name="T30" fmla="*/ 2244 w 2979"/>
                <a:gd name="T31" fmla="*/ 1362 h 2771"/>
                <a:gd name="T32" fmla="*/ 1981 w 2979"/>
                <a:gd name="T33" fmla="*/ 609 h 2771"/>
                <a:gd name="T34" fmla="*/ 1343 w 2979"/>
                <a:gd name="T35" fmla="*/ 355 h 2771"/>
                <a:gd name="T36" fmla="*/ 579 w 2979"/>
                <a:gd name="T37" fmla="*/ 724 h 2771"/>
                <a:gd name="T38" fmla="*/ 341 w 2979"/>
                <a:gd name="T39" fmla="*/ 1388 h 2771"/>
                <a:gd name="T40" fmla="*/ 1011 w 2979"/>
                <a:gd name="T41" fmla="*/ 2612 h 2771"/>
                <a:gd name="T42" fmla="*/ 106 w 2979"/>
                <a:gd name="T43" fmla="*/ 1386 h 2771"/>
                <a:gd name="T44" fmla="*/ 1453 w 2979"/>
                <a:gd name="T45" fmla="*/ 468 h 2771"/>
                <a:gd name="T46" fmla="*/ 1904 w 2979"/>
                <a:gd name="T47" fmla="*/ 683 h 2771"/>
                <a:gd name="T48" fmla="*/ 2138 w 2979"/>
                <a:gd name="T49" fmla="*/ 1359 h 2771"/>
                <a:gd name="T50" fmla="*/ 1500 w 2979"/>
                <a:gd name="T51" fmla="*/ 2299 h 2771"/>
                <a:gd name="T52" fmla="*/ 817 w 2979"/>
                <a:gd name="T53" fmla="*/ 1386 h 2771"/>
                <a:gd name="T54" fmla="*/ 1453 w 2979"/>
                <a:gd name="T55" fmla="*/ 468 h 2771"/>
                <a:gd name="T56" fmla="*/ 1636 w 2979"/>
                <a:gd name="T57" fmla="*/ 2660 h 2771"/>
                <a:gd name="T58" fmla="*/ 448 w 2979"/>
                <a:gd name="T59" fmla="*/ 1388 h 2771"/>
                <a:gd name="T60" fmla="*/ 662 w 2979"/>
                <a:gd name="T61" fmla="*/ 790 h 2771"/>
                <a:gd name="T62" fmla="*/ 1138 w 2979"/>
                <a:gd name="T63" fmla="*/ 484 h 2771"/>
                <a:gd name="T64" fmla="*/ 710 w 2979"/>
                <a:gd name="T65" fmla="*/ 1386 h 2771"/>
                <a:gd name="T66" fmla="*/ 1636 w 2979"/>
                <a:gd name="T67" fmla="*/ 2416 h 2771"/>
                <a:gd name="T68" fmla="*/ 2611 w 2979"/>
                <a:gd name="T69" fmla="*/ 1386 h 2771"/>
                <a:gd name="T70" fmla="*/ 2613 w 2979"/>
                <a:gd name="T71" fmla="*/ 1386 h 2771"/>
                <a:gd name="T72" fmla="*/ 1933 w 2979"/>
                <a:gd name="T73" fmla="*/ 147 h 2771"/>
                <a:gd name="T74" fmla="*/ 2873 w 2979"/>
                <a:gd name="T75" fmla="*/ 1386 h 2771"/>
                <a:gd name="T76" fmla="*/ 1636 w 2979"/>
                <a:gd name="T77" fmla="*/ 2660 h 2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79" h="2771">
                  <a:moveTo>
                    <a:pt x="2979" y="1386"/>
                  </a:moveTo>
                  <a:cubicBezTo>
                    <a:pt x="2979" y="610"/>
                    <a:pt x="2382" y="2"/>
                    <a:pt x="1619" y="2"/>
                  </a:cubicBezTo>
                  <a:cubicBezTo>
                    <a:pt x="1606" y="3"/>
                    <a:pt x="1586" y="2"/>
                    <a:pt x="1562" y="2"/>
                  </a:cubicBezTo>
                  <a:cubicBezTo>
                    <a:pt x="1446" y="1"/>
                    <a:pt x="1328" y="0"/>
                    <a:pt x="1279" y="6"/>
                  </a:cubicBezTo>
                  <a:cubicBezTo>
                    <a:pt x="545" y="38"/>
                    <a:pt x="0" y="620"/>
                    <a:pt x="0" y="1386"/>
                  </a:cubicBezTo>
                  <a:cubicBezTo>
                    <a:pt x="0" y="2162"/>
                    <a:pt x="604" y="2770"/>
                    <a:pt x="1375" y="2770"/>
                  </a:cubicBezTo>
                  <a:cubicBezTo>
                    <a:pt x="1390" y="2770"/>
                    <a:pt x="1408" y="2770"/>
                    <a:pt x="1429" y="2770"/>
                  </a:cubicBezTo>
                  <a:cubicBezTo>
                    <a:pt x="1456" y="2771"/>
                    <a:pt x="1486" y="2771"/>
                    <a:pt x="1516" y="2771"/>
                  </a:cubicBezTo>
                  <a:cubicBezTo>
                    <a:pt x="1563" y="2771"/>
                    <a:pt x="1608" y="2770"/>
                    <a:pt x="1639" y="2766"/>
                  </a:cubicBezTo>
                  <a:cubicBezTo>
                    <a:pt x="2403" y="2765"/>
                    <a:pt x="2979" y="2172"/>
                    <a:pt x="2979" y="1386"/>
                  </a:cubicBezTo>
                  <a:moveTo>
                    <a:pt x="106" y="1386"/>
                  </a:moveTo>
                  <a:cubicBezTo>
                    <a:pt x="106" y="659"/>
                    <a:pt x="638" y="111"/>
                    <a:pt x="1343" y="111"/>
                  </a:cubicBezTo>
                  <a:cubicBezTo>
                    <a:pt x="2028" y="111"/>
                    <a:pt x="2506" y="635"/>
                    <a:pt x="2506" y="1386"/>
                  </a:cubicBezTo>
                  <a:cubicBezTo>
                    <a:pt x="2504" y="1386"/>
                    <a:pt x="2504" y="1386"/>
                    <a:pt x="2504" y="1386"/>
                  </a:cubicBezTo>
                  <a:cubicBezTo>
                    <a:pt x="2504" y="1864"/>
                    <a:pt x="2196" y="2236"/>
                    <a:pt x="1768" y="2300"/>
                  </a:cubicBezTo>
                  <a:cubicBezTo>
                    <a:pt x="2022" y="2137"/>
                    <a:pt x="2232" y="1810"/>
                    <a:pt x="2244" y="1362"/>
                  </a:cubicBezTo>
                  <a:cubicBezTo>
                    <a:pt x="2252" y="1059"/>
                    <a:pt x="2158" y="791"/>
                    <a:pt x="1981" y="609"/>
                  </a:cubicBezTo>
                  <a:cubicBezTo>
                    <a:pt x="1819" y="443"/>
                    <a:pt x="1598" y="355"/>
                    <a:pt x="1343" y="355"/>
                  </a:cubicBezTo>
                  <a:cubicBezTo>
                    <a:pt x="1034" y="355"/>
                    <a:pt x="769" y="483"/>
                    <a:pt x="579" y="724"/>
                  </a:cubicBezTo>
                  <a:cubicBezTo>
                    <a:pt x="432" y="909"/>
                    <a:pt x="341" y="1164"/>
                    <a:pt x="341" y="1388"/>
                  </a:cubicBezTo>
                  <a:cubicBezTo>
                    <a:pt x="341" y="1941"/>
                    <a:pt x="602" y="2388"/>
                    <a:pt x="1011" y="2612"/>
                  </a:cubicBezTo>
                  <a:cubicBezTo>
                    <a:pt x="482" y="2458"/>
                    <a:pt x="106" y="1974"/>
                    <a:pt x="106" y="1386"/>
                  </a:cubicBezTo>
                  <a:moveTo>
                    <a:pt x="1453" y="468"/>
                  </a:moveTo>
                  <a:cubicBezTo>
                    <a:pt x="1632" y="489"/>
                    <a:pt x="1787" y="562"/>
                    <a:pt x="1904" y="683"/>
                  </a:cubicBezTo>
                  <a:cubicBezTo>
                    <a:pt x="2062" y="845"/>
                    <a:pt x="2145" y="1085"/>
                    <a:pt x="2138" y="1359"/>
                  </a:cubicBezTo>
                  <a:cubicBezTo>
                    <a:pt x="2127" y="1754"/>
                    <a:pt x="1901" y="2215"/>
                    <a:pt x="1500" y="2299"/>
                  </a:cubicBezTo>
                  <a:cubicBezTo>
                    <a:pt x="1091" y="2234"/>
                    <a:pt x="817" y="1877"/>
                    <a:pt x="817" y="1386"/>
                  </a:cubicBezTo>
                  <a:cubicBezTo>
                    <a:pt x="817" y="907"/>
                    <a:pt x="1066" y="548"/>
                    <a:pt x="1453" y="468"/>
                  </a:cubicBezTo>
                  <a:moveTo>
                    <a:pt x="1636" y="2660"/>
                  </a:moveTo>
                  <a:cubicBezTo>
                    <a:pt x="947" y="2660"/>
                    <a:pt x="448" y="2125"/>
                    <a:pt x="448" y="1388"/>
                  </a:cubicBezTo>
                  <a:cubicBezTo>
                    <a:pt x="448" y="1186"/>
                    <a:pt x="530" y="957"/>
                    <a:pt x="662" y="790"/>
                  </a:cubicBezTo>
                  <a:cubicBezTo>
                    <a:pt x="788" y="631"/>
                    <a:pt x="950" y="527"/>
                    <a:pt x="1138" y="484"/>
                  </a:cubicBezTo>
                  <a:cubicBezTo>
                    <a:pt x="871" y="659"/>
                    <a:pt x="710" y="985"/>
                    <a:pt x="710" y="1386"/>
                  </a:cubicBezTo>
                  <a:cubicBezTo>
                    <a:pt x="710" y="1992"/>
                    <a:pt x="1091" y="2416"/>
                    <a:pt x="1636" y="2416"/>
                  </a:cubicBezTo>
                  <a:cubicBezTo>
                    <a:pt x="2191" y="2416"/>
                    <a:pt x="2611" y="1973"/>
                    <a:pt x="2611" y="1386"/>
                  </a:cubicBezTo>
                  <a:cubicBezTo>
                    <a:pt x="2613" y="1386"/>
                    <a:pt x="2613" y="1386"/>
                    <a:pt x="2613" y="1386"/>
                  </a:cubicBezTo>
                  <a:cubicBezTo>
                    <a:pt x="2613" y="821"/>
                    <a:pt x="2347" y="367"/>
                    <a:pt x="1933" y="147"/>
                  </a:cubicBezTo>
                  <a:cubicBezTo>
                    <a:pt x="2479" y="286"/>
                    <a:pt x="2873" y="780"/>
                    <a:pt x="2873" y="1386"/>
                  </a:cubicBezTo>
                  <a:cubicBezTo>
                    <a:pt x="2873" y="2112"/>
                    <a:pt x="2341" y="2660"/>
                    <a:pt x="1636" y="26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9" name="Title 1"/>
          <p:cNvSpPr>
            <a:spLocks noGrp="1"/>
          </p:cNvSpPr>
          <p:nvPr>
            <p:ph type="ctrTitle" hasCustomPrompt="1"/>
          </p:nvPr>
        </p:nvSpPr>
        <p:spPr>
          <a:xfrm>
            <a:off x="430690" y="463552"/>
            <a:ext cx="5666898" cy="1298574"/>
          </a:xfrm>
        </p:spPr>
        <p:txBody>
          <a:bodyPr anchor="b" anchorCtr="0">
            <a:normAutofit/>
          </a:bodyPr>
          <a:lstStyle>
            <a:lvl1pPr>
              <a:lnSpc>
                <a:spcPct val="90000"/>
              </a:lnSpc>
              <a:defRPr sz="1800">
                <a:solidFill>
                  <a:schemeClr val="bg1"/>
                </a:solidFill>
              </a:defRPr>
            </a:lvl1pPr>
          </a:lstStyle>
          <a:p>
            <a:r>
              <a:rPr lang="en-US" dirty="0"/>
              <a:t>Master title style</a:t>
            </a:r>
            <a:endParaRPr lang="en-GB" dirty="0"/>
          </a:p>
        </p:txBody>
      </p:sp>
      <p:sp>
        <p:nvSpPr>
          <p:cNvPr id="20" name="Subtitle 2"/>
          <p:cNvSpPr>
            <a:spLocks noGrp="1"/>
          </p:cNvSpPr>
          <p:nvPr>
            <p:ph type="subTitle" idx="1" hasCustomPrompt="1"/>
          </p:nvPr>
        </p:nvSpPr>
        <p:spPr>
          <a:xfrm>
            <a:off x="430690" y="1828801"/>
            <a:ext cx="5667628" cy="1152524"/>
          </a:xfrm>
        </p:spPr>
        <p:txBody>
          <a:bodyPr>
            <a:normAutofit/>
          </a:bodyPr>
          <a:lstStyle>
            <a:lvl1pPr marL="0" indent="0" algn="l">
              <a:lnSpc>
                <a:spcPct val="90000"/>
              </a:lnSpc>
              <a:spcBef>
                <a:spcPts val="600"/>
              </a:spcBef>
              <a:buNone/>
              <a:defRPr sz="18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Master subtitle style</a:t>
            </a:r>
            <a:endParaRPr lang="en-GB" dirty="0"/>
          </a:p>
        </p:txBody>
      </p:sp>
      <p:sp>
        <p:nvSpPr>
          <p:cNvPr id="21" name="Text Placeholder 21"/>
          <p:cNvSpPr>
            <a:spLocks noGrp="1"/>
          </p:cNvSpPr>
          <p:nvPr>
            <p:ph type="body" sz="quarter" idx="13" hasCustomPrompt="1"/>
          </p:nvPr>
        </p:nvSpPr>
        <p:spPr>
          <a:xfrm>
            <a:off x="438150" y="3086100"/>
            <a:ext cx="5667375" cy="838200"/>
          </a:xfrm>
        </p:spPr>
        <p:txBody>
          <a:bodyPr>
            <a:noAutofit/>
          </a:bodyPr>
          <a:lstStyle>
            <a:lvl1pPr marL="0" indent="0">
              <a:buFont typeface="Arial" panose="020B0604020202020204" pitchFamily="34" charset="0"/>
              <a:buNone/>
              <a:defRPr sz="1800" b="0">
                <a:solidFill>
                  <a:schemeClr val="bg1"/>
                </a:solidFill>
                <a:latin typeface="+mj-lt"/>
              </a:defRPr>
            </a:lvl1pPr>
            <a:lvl2pPr marL="0" indent="0">
              <a:buFont typeface="Arial" panose="020B0604020202020204" pitchFamily="34" charset="0"/>
              <a:buNone/>
              <a:defRPr sz="1400" b="0">
                <a:solidFill>
                  <a:schemeClr val="bg1"/>
                </a:solidFill>
                <a:latin typeface="+mn-lt"/>
              </a:defRPr>
            </a:lvl2pPr>
            <a:lvl3pPr marL="0" indent="0">
              <a:buNone/>
              <a:defRPr sz="1400" b="0">
                <a:solidFill>
                  <a:schemeClr val="bg1"/>
                </a:solidFill>
                <a:latin typeface="+mn-lt"/>
              </a:defRPr>
            </a:lvl3pPr>
            <a:lvl4pPr marL="0" indent="0">
              <a:buNone/>
              <a:defRPr sz="1400" b="0">
                <a:solidFill>
                  <a:schemeClr val="bg1"/>
                </a:solidFill>
                <a:latin typeface="+mn-lt"/>
              </a:defRPr>
            </a:lvl4pPr>
            <a:lvl5pPr marL="0" indent="0">
              <a:buNone/>
              <a:defRPr sz="1400" b="0">
                <a:solidFill>
                  <a:schemeClr val="bg1"/>
                </a:solidFill>
                <a:latin typeface="+mn-lt"/>
              </a:defRPr>
            </a:lvl5pPr>
          </a:lstStyle>
          <a:p>
            <a:pPr lvl="0"/>
            <a:r>
              <a:rPr lang="en-US" dirty="0"/>
              <a:t>Date</a:t>
            </a:r>
            <a:endParaRPr lang="en-GB" dirty="0"/>
          </a:p>
        </p:txBody>
      </p:sp>
    </p:spTree>
    <p:extLst>
      <p:ext uri="{BB962C8B-B14F-4D97-AF65-F5344CB8AC3E}">
        <p14:creationId xmlns:p14="http://schemas.microsoft.com/office/powerpoint/2010/main" val="3913698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inal Slide 4">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7" y="820"/>
            <a:ext cx="12190540" cy="6857179"/>
          </a:xfrm>
          <a:prstGeom prst="rect">
            <a:avLst/>
          </a:prstGeom>
        </p:spPr>
      </p:pic>
      <p:grpSp>
        <p:nvGrpSpPr>
          <p:cNvPr id="8" name="Group 7"/>
          <p:cNvGrpSpPr>
            <a:grpSpLocks noChangeAspect="1"/>
          </p:cNvGrpSpPr>
          <p:nvPr userDrawn="1"/>
        </p:nvGrpSpPr>
        <p:grpSpPr>
          <a:xfrm>
            <a:off x="438149" y="6230422"/>
            <a:ext cx="1476000" cy="196205"/>
            <a:chOff x="6905625" y="4194175"/>
            <a:chExt cx="3152775" cy="419100"/>
          </a:xfrm>
          <a:solidFill>
            <a:schemeClr val="bg1"/>
          </a:solidFill>
        </p:grpSpPr>
        <p:sp>
          <p:nvSpPr>
            <p:cNvPr id="9" name="Freeform 6"/>
            <p:cNvSpPr>
              <a:spLocks noEditPoints="1"/>
            </p:cNvSpPr>
            <p:nvPr userDrawn="1"/>
          </p:nvSpPr>
          <p:spPr bwMode="auto">
            <a:xfrm>
              <a:off x="7824788" y="4200525"/>
              <a:ext cx="295275" cy="406400"/>
            </a:xfrm>
            <a:custGeom>
              <a:avLst/>
              <a:gdLst>
                <a:gd name="T0" fmla="*/ 174 w 186"/>
                <a:gd name="T1" fmla="*/ 11 h 256"/>
                <a:gd name="T2" fmla="*/ 174 w 186"/>
                <a:gd name="T3" fmla="*/ 32 h 256"/>
                <a:gd name="T4" fmla="*/ 118 w 186"/>
                <a:gd name="T5" fmla="*/ 32 h 256"/>
                <a:gd name="T6" fmla="*/ 106 w 186"/>
                <a:gd name="T7" fmla="*/ 32 h 256"/>
                <a:gd name="T8" fmla="*/ 106 w 186"/>
                <a:gd name="T9" fmla="*/ 44 h 256"/>
                <a:gd name="T10" fmla="*/ 106 w 186"/>
                <a:gd name="T11" fmla="*/ 245 h 256"/>
                <a:gd name="T12" fmla="*/ 79 w 186"/>
                <a:gd name="T13" fmla="*/ 245 h 256"/>
                <a:gd name="T14" fmla="*/ 79 w 186"/>
                <a:gd name="T15" fmla="*/ 44 h 256"/>
                <a:gd name="T16" fmla="*/ 79 w 186"/>
                <a:gd name="T17" fmla="*/ 32 h 256"/>
                <a:gd name="T18" fmla="*/ 68 w 186"/>
                <a:gd name="T19" fmla="*/ 32 h 256"/>
                <a:gd name="T20" fmla="*/ 11 w 186"/>
                <a:gd name="T21" fmla="*/ 32 h 256"/>
                <a:gd name="T22" fmla="*/ 11 w 186"/>
                <a:gd name="T23" fmla="*/ 11 h 256"/>
                <a:gd name="T24" fmla="*/ 174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4" y="11"/>
                  </a:moveTo>
                  <a:lnTo>
                    <a:pt x="174" y="32"/>
                  </a:lnTo>
                  <a:lnTo>
                    <a:pt x="118" y="32"/>
                  </a:lnTo>
                  <a:lnTo>
                    <a:pt x="106" y="32"/>
                  </a:lnTo>
                  <a:lnTo>
                    <a:pt x="106" y="44"/>
                  </a:lnTo>
                  <a:lnTo>
                    <a:pt x="106" y="245"/>
                  </a:lnTo>
                  <a:lnTo>
                    <a:pt x="79" y="245"/>
                  </a:lnTo>
                  <a:lnTo>
                    <a:pt x="79" y="44"/>
                  </a:lnTo>
                  <a:lnTo>
                    <a:pt x="79" y="32"/>
                  </a:lnTo>
                  <a:lnTo>
                    <a:pt x="68" y="32"/>
                  </a:lnTo>
                  <a:lnTo>
                    <a:pt x="11" y="32"/>
                  </a:lnTo>
                  <a:lnTo>
                    <a:pt x="11" y="11"/>
                  </a:lnTo>
                  <a:lnTo>
                    <a:pt x="174"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9"/>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close/>
                  <a:moveTo>
                    <a:pt x="78" y="167"/>
                  </a:moveTo>
                  <a:lnTo>
                    <a:pt x="95" y="167"/>
                  </a:lnTo>
                  <a:lnTo>
                    <a:pt x="160" y="167"/>
                  </a:lnTo>
                  <a:lnTo>
                    <a:pt x="177" y="167"/>
                  </a:lnTo>
                  <a:lnTo>
                    <a:pt x="170" y="151"/>
                  </a:lnTo>
                  <a:lnTo>
                    <a:pt x="138" y="75"/>
                  </a:lnTo>
                  <a:lnTo>
                    <a:pt x="127" y="51"/>
                  </a:lnTo>
                  <a:lnTo>
                    <a:pt x="117" y="75"/>
                  </a:lnTo>
                  <a:lnTo>
                    <a:pt x="84" y="151"/>
                  </a:lnTo>
                  <a:lnTo>
                    <a:pt x="78" y="167"/>
                  </a:lnTo>
                  <a:close/>
                  <a:moveTo>
                    <a:pt x="145" y="0"/>
                  </a:moveTo>
                  <a:lnTo>
                    <a:pt x="110" y="0"/>
                  </a:lnTo>
                  <a:lnTo>
                    <a:pt x="0" y="256"/>
                  </a:lnTo>
                  <a:lnTo>
                    <a:pt x="52" y="256"/>
                  </a:lnTo>
                  <a:lnTo>
                    <a:pt x="76" y="199"/>
                  </a:lnTo>
                  <a:lnTo>
                    <a:pt x="179" y="199"/>
                  </a:lnTo>
                  <a:lnTo>
                    <a:pt x="203" y="256"/>
                  </a:lnTo>
                  <a:lnTo>
                    <a:pt x="255" y="256"/>
                  </a:lnTo>
                  <a:lnTo>
                    <a:pt x="145" y="0"/>
                  </a:lnTo>
                  <a:close/>
                  <a:moveTo>
                    <a:pt x="95" y="156"/>
                  </a:moveTo>
                  <a:lnTo>
                    <a:pt x="127" y="80"/>
                  </a:lnTo>
                  <a:lnTo>
                    <a:pt x="160" y="156"/>
                  </a:lnTo>
                  <a:lnTo>
                    <a:pt x="95"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5"/>
            <p:cNvSpPr>
              <a:spLocks noEditPoints="1"/>
            </p:cNvSpPr>
            <p:nvPr userDrawn="1"/>
          </p:nvSpPr>
          <p:spPr bwMode="auto">
            <a:xfrm>
              <a:off x="7410450" y="4200525"/>
              <a:ext cx="350838" cy="412750"/>
            </a:xfrm>
            <a:custGeom>
              <a:avLst/>
              <a:gdLst>
                <a:gd name="T0" fmla="*/ 2198 w 2316"/>
                <a:gd name="T1" fmla="*/ 117 h 2741"/>
                <a:gd name="T2" fmla="*/ 2198 w 2316"/>
                <a:gd name="T3" fmla="*/ 1563 h 2741"/>
                <a:gd name="T4" fmla="*/ 1890 w 2316"/>
                <a:gd name="T5" fmla="*/ 2375 h 2741"/>
                <a:gd name="T6" fmla="*/ 1158 w 2316"/>
                <a:gd name="T7" fmla="*/ 2624 h 2741"/>
                <a:gd name="T8" fmla="*/ 425 w 2316"/>
                <a:gd name="T9" fmla="*/ 2376 h 2741"/>
                <a:gd name="T10" fmla="*/ 117 w 2316"/>
                <a:gd name="T11" fmla="*/ 1563 h 2741"/>
                <a:gd name="T12" fmla="*/ 117 w 2316"/>
                <a:gd name="T13" fmla="*/ 117 h 2741"/>
                <a:gd name="T14" fmla="*/ 404 w 2316"/>
                <a:gd name="T15" fmla="*/ 117 h 2741"/>
                <a:gd name="T16" fmla="*/ 404 w 2316"/>
                <a:gd name="T17" fmla="*/ 1602 h 2741"/>
                <a:gd name="T18" fmla="*/ 618 w 2316"/>
                <a:gd name="T19" fmla="*/ 2189 h 2741"/>
                <a:gd name="T20" fmla="*/ 1158 w 2316"/>
                <a:gd name="T21" fmla="*/ 2395 h 2741"/>
                <a:gd name="T22" fmla="*/ 1698 w 2316"/>
                <a:gd name="T23" fmla="*/ 2189 h 2741"/>
                <a:gd name="T24" fmla="*/ 1912 w 2316"/>
                <a:gd name="T25" fmla="*/ 1602 h 2741"/>
                <a:gd name="T26" fmla="*/ 1912 w 2316"/>
                <a:gd name="T27" fmla="*/ 117 h 2741"/>
                <a:gd name="T28" fmla="*/ 2198 w 2316"/>
                <a:gd name="T29" fmla="*/ 117 h 2741"/>
                <a:gd name="T30" fmla="*/ 2316 w 2316"/>
                <a:gd name="T31" fmla="*/ 0 h 2741"/>
                <a:gd name="T32" fmla="*/ 1794 w 2316"/>
                <a:gd name="T33" fmla="*/ 0 h 2741"/>
                <a:gd name="T34" fmla="*/ 1794 w 2316"/>
                <a:gd name="T35" fmla="*/ 1602 h 2741"/>
                <a:gd name="T36" fmla="*/ 1617 w 2316"/>
                <a:gd name="T37" fmla="*/ 2104 h 2741"/>
                <a:gd name="T38" fmla="*/ 1158 w 2316"/>
                <a:gd name="T39" fmla="*/ 2277 h 2741"/>
                <a:gd name="T40" fmla="*/ 698 w 2316"/>
                <a:gd name="T41" fmla="*/ 2104 h 2741"/>
                <a:gd name="T42" fmla="*/ 521 w 2316"/>
                <a:gd name="T43" fmla="*/ 1602 h 2741"/>
                <a:gd name="T44" fmla="*/ 521 w 2316"/>
                <a:gd name="T45" fmla="*/ 0 h 2741"/>
                <a:gd name="T46" fmla="*/ 0 w 2316"/>
                <a:gd name="T47" fmla="*/ 0 h 2741"/>
                <a:gd name="T48" fmla="*/ 0 w 2316"/>
                <a:gd name="T49" fmla="*/ 1563 h 2741"/>
                <a:gd name="T50" fmla="*/ 347 w 2316"/>
                <a:gd name="T51" fmla="*/ 2463 h 2741"/>
                <a:gd name="T52" fmla="*/ 1158 w 2316"/>
                <a:gd name="T53" fmla="*/ 2741 h 2741"/>
                <a:gd name="T54" fmla="*/ 1968 w 2316"/>
                <a:gd name="T55" fmla="*/ 2463 h 2741"/>
                <a:gd name="T56" fmla="*/ 2316 w 2316"/>
                <a:gd name="T57" fmla="*/ 1563 h 2741"/>
                <a:gd name="T58" fmla="*/ 2316 w 2316"/>
                <a:gd name="T59" fmla="*/ 0 h 2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6" h="2741">
                  <a:moveTo>
                    <a:pt x="2198" y="117"/>
                  </a:moveTo>
                  <a:cubicBezTo>
                    <a:pt x="2198" y="1563"/>
                    <a:pt x="2198" y="1563"/>
                    <a:pt x="2198" y="1563"/>
                  </a:cubicBezTo>
                  <a:cubicBezTo>
                    <a:pt x="2198" y="1924"/>
                    <a:pt x="2098" y="2189"/>
                    <a:pt x="1890" y="2375"/>
                  </a:cubicBezTo>
                  <a:cubicBezTo>
                    <a:pt x="1713" y="2533"/>
                    <a:pt x="1446" y="2624"/>
                    <a:pt x="1158" y="2624"/>
                  </a:cubicBezTo>
                  <a:cubicBezTo>
                    <a:pt x="870" y="2624"/>
                    <a:pt x="602" y="2533"/>
                    <a:pt x="425" y="2376"/>
                  </a:cubicBezTo>
                  <a:cubicBezTo>
                    <a:pt x="218" y="2190"/>
                    <a:pt x="117" y="1924"/>
                    <a:pt x="117" y="1563"/>
                  </a:cubicBezTo>
                  <a:cubicBezTo>
                    <a:pt x="117" y="117"/>
                    <a:pt x="117" y="117"/>
                    <a:pt x="117" y="117"/>
                  </a:cubicBezTo>
                  <a:cubicBezTo>
                    <a:pt x="404" y="117"/>
                    <a:pt x="404" y="117"/>
                    <a:pt x="404" y="117"/>
                  </a:cubicBezTo>
                  <a:cubicBezTo>
                    <a:pt x="404" y="1602"/>
                    <a:pt x="404" y="1602"/>
                    <a:pt x="404" y="1602"/>
                  </a:cubicBezTo>
                  <a:cubicBezTo>
                    <a:pt x="404" y="1866"/>
                    <a:pt x="472" y="2052"/>
                    <a:pt x="618" y="2189"/>
                  </a:cubicBezTo>
                  <a:cubicBezTo>
                    <a:pt x="756" y="2321"/>
                    <a:pt x="947" y="2395"/>
                    <a:pt x="1158" y="2395"/>
                  </a:cubicBezTo>
                  <a:cubicBezTo>
                    <a:pt x="1368" y="2395"/>
                    <a:pt x="1560" y="2321"/>
                    <a:pt x="1698" y="2189"/>
                  </a:cubicBezTo>
                  <a:cubicBezTo>
                    <a:pt x="1844" y="2052"/>
                    <a:pt x="1912" y="1866"/>
                    <a:pt x="1912" y="1602"/>
                  </a:cubicBezTo>
                  <a:cubicBezTo>
                    <a:pt x="1912" y="117"/>
                    <a:pt x="1912" y="117"/>
                    <a:pt x="1912" y="117"/>
                  </a:cubicBezTo>
                  <a:cubicBezTo>
                    <a:pt x="2198" y="117"/>
                    <a:pt x="2198" y="117"/>
                    <a:pt x="2198" y="117"/>
                  </a:cubicBezTo>
                  <a:moveTo>
                    <a:pt x="2316" y="0"/>
                  </a:moveTo>
                  <a:cubicBezTo>
                    <a:pt x="1794" y="0"/>
                    <a:pt x="1794" y="0"/>
                    <a:pt x="1794" y="0"/>
                  </a:cubicBezTo>
                  <a:cubicBezTo>
                    <a:pt x="1794" y="1602"/>
                    <a:pt x="1794" y="1602"/>
                    <a:pt x="1794" y="1602"/>
                  </a:cubicBezTo>
                  <a:cubicBezTo>
                    <a:pt x="1794" y="1849"/>
                    <a:pt x="1729" y="2000"/>
                    <a:pt x="1617" y="2104"/>
                  </a:cubicBezTo>
                  <a:cubicBezTo>
                    <a:pt x="1501" y="2216"/>
                    <a:pt x="1339" y="2277"/>
                    <a:pt x="1158" y="2277"/>
                  </a:cubicBezTo>
                  <a:cubicBezTo>
                    <a:pt x="976" y="2277"/>
                    <a:pt x="814" y="2216"/>
                    <a:pt x="698" y="2104"/>
                  </a:cubicBezTo>
                  <a:cubicBezTo>
                    <a:pt x="586" y="2000"/>
                    <a:pt x="521" y="1849"/>
                    <a:pt x="521" y="1602"/>
                  </a:cubicBezTo>
                  <a:cubicBezTo>
                    <a:pt x="521" y="0"/>
                    <a:pt x="521" y="0"/>
                    <a:pt x="521" y="0"/>
                  </a:cubicBezTo>
                  <a:cubicBezTo>
                    <a:pt x="0" y="0"/>
                    <a:pt x="0" y="0"/>
                    <a:pt x="0" y="0"/>
                  </a:cubicBezTo>
                  <a:cubicBezTo>
                    <a:pt x="0" y="1563"/>
                    <a:pt x="0" y="1563"/>
                    <a:pt x="0" y="1563"/>
                  </a:cubicBezTo>
                  <a:cubicBezTo>
                    <a:pt x="0" y="1976"/>
                    <a:pt x="123" y="2262"/>
                    <a:pt x="347" y="2463"/>
                  </a:cubicBezTo>
                  <a:cubicBezTo>
                    <a:pt x="556" y="2648"/>
                    <a:pt x="853" y="2741"/>
                    <a:pt x="1158" y="2741"/>
                  </a:cubicBezTo>
                  <a:cubicBezTo>
                    <a:pt x="1463" y="2741"/>
                    <a:pt x="1760" y="2648"/>
                    <a:pt x="1968" y="2463"/>
                  </a:cubicBezTo>
                  <a:cubicBezTo>
                    <a:pt x="2192" y="2262"/>
                    <a:pt x="2316" y="1976"/>
                    <a:pt x="2316" y="1563"/>
                  </a:cubicBezTo>
                  <a:lnTo>
                    <a:pt x="2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noEditPoints="1"/>
            </p:cNvSpPr>
            <p:nvPr userDrawn="1"/>
          </p:nvSpPr>
          <p:spPr bwMode="auto">
            <a:xfrm>
              <a:off x="8145463" y="4194175"/>
              <a:ext cx="285750" cy="419100"/>
            </a:xfrm>
            <a:custGeom>
              <a:avLst/>
              <a:gdLst>
                <a:gd name="T0" fmla="*/ 1016 w 1892"/>
                <a:gd name="T1" fmla="*/ 117 h 2779"/>
                <a:gd name="T2" fmla="*/ 1635 w 1892"/>
                <a:gd name="T3" fmla="*/ 284 h 2779"/>
                <a:gd name="T4" fmla="*/ 1502 w 1892"/>
                <a:gd name="T5" fmla="*/ 474 h 2779"/>
                <a:gd name="T6" fmla="*/ 1062 w 1892"/>
                <a:gd name="T7" fmla="*/ 346 h 2779"/>
                <a:gd name="T8" fmla="*/ 528 w 1892"/>
                <a:gd name="T9" fmla="*/ 756 h 2779"/>
                <a:gd name="T10" fmla="*/ 1057 w 1892"/>
                <a:gd name="T11" fmla="*/ 1224 h 2779"/>
                <a:gd name="T12" fmla="*/ 1775 w 1892"/>
                <a:gd name="T13" fmla="*/ 1968 h 2779"/>
                <a:gd name="T14" fmla="*/ 977 w 1892"/>
                <a:gd name="T15" fmla="*/ 2662 h 2779"/>
                <a:gd name="T16" fmla="*/ 171 w 1892"/>
                <a:gd name="T17" fmla="*/ 2365 h 2779"/>
                <a:gd name="T18" fmla="*/ 343 w 1892"/>
                <a:gd name="T19" fmla="*/ 2185 h 2779"/>
                <a:gd name="T20" fmla="*/ 977 w 1892"/>
                <a:gd name="T21" fmla="*/ 2433 h 2779"/>
                <a:gd name="T22" fmla="*/ 1488 w 1892"/>
                <a:gd name="T23" fmla="*/ 1976 h 2779"/>
                <a:gd name="T24" fmla="*/ 906 w 1892"/>
                <a:gd name="T25" fmla="*/ 1427 h 2779"/>
                <a:gd name="T26" fmla="*/ 565 w 1892"/>
                <a:gd name="T27" fmla="*/ 1272 h 2779"/>
                <a:gd name="T28" fmla="*/ 241 w 1892"/>
                <a:gd name="T29" fmla="*/ 760 h 2779"/>
                <a:gd name="T30" fmla="*/ 1016 w 1892"/>
                <a:gd name="T31" fmla="*/ 117 h 2779"/>
                <a:gd name="T32" fmla="*/ 1016 w 1892"/>
                <a:gd name="T33" fmla="*/ 0 h 2779"/>
                <a:gd name="T34" fmla="*/ 124 w 1892"/>
                <a:gd name="T35" fmla="*/ 760 h 2779"/>
                <a:gd name="T36" fmla="*/ 506 w 1892"/>
                <a:gd name="T37" fmla="*/ 1374 h 2779"/>
                <a:gd name="T38" fmla="*/ 1371 w 1892"/>
                <a:gd name="T39" fmla="*/ 1976 h 2779"/>
                <a:gd name="T40" fmla="*/ 977 w 1892"/>
                <a:gd name="T41" fmla="*/ 2315 h 2779"/>
                <a:gd name="T42" fmla="*/ 340 w 1892"/>
                <a:gd name="T43" fmla="*/ 2018 h 2779"/>
                <a:gd name="T44" fmla="*/ 0 w 1892"/>
                <a:gd name="T45" fmla="*/ 2373 h 2779"/>
                <a:gd name="T46" fmla="*/ 977 w 1892"/>
                <a:gd name="T47" fmla="*/ 2779 h 2779"/>
                <a:gd name="T48" fmla="*/ 1892 w 1892"/>
                <a:gd name="T49" fmla="*/ 1968 h 2779"/>
                <a:gd name="T50" fmla="*/ 645 w 1892"/>
                <a:gd name="T51" fmla="*/ 756 h 2779"/>
                <a:gd name="T52" fmla="*/ 1062 w 1892"/>
                <a:gd name="T53" fmla="*/ 463 h 2779"/>
                <a:gd name="T54" fmla="*/ 1529 w 1892"/>
                <a:gd name="T55" fmla="*/ 640 h 2779"/>
                <a:gd name="T56" fmla="*/ 1799 w 1892"/>
                <a:gd name="T57" fmla="*/ 254 h 2779"/>
                <a:gd name="T58" fmla="*/ 1016 w 1892"/>
                <a:gd name="T59" fmla="*/ 0 h 2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92" h="2779">
                  <a:moveTo>
                    <a:pt x="1016" y="117"/>
                  </a:moveTo>
                  <a:cubicBezTo>
                    <a:pt x="1253" y="117"/>
                    <a:pt x="1449" y="169"/>
                    <a:pt x="1635" y="284"/>
                  </a:cubicBezTo>
                  <a:cubicBezTo>
                    <a:pt x="1502" y="474"/>
                    <a:pt x="1502" y="474"/>
                    <a:pt x="1502" y="474"/>
                  </a:cubicBezTo>
                  <a:cubicBezTo>
                    <a:pt x="1374" y="394"/>
                    <a:pt x="1212" y="346"/>
                    <a:pt x="1062" y="346"/>
                  </a:cubicBezTo>
                  <a:cubicBezTo>
                    <a:pt x="748" y="346"/>
                    <a:pt x="528" y="515"/>
                    <a:pt x="528" y="756"/>
                  </a:cubicBezTo>
                  <a:cubicBezTo>
                    <a:pt x="528" y="1014"/>
                    <a:pt x="785" y="1116"/>
                    <a:pt x="1057" y="1224"/>
                  </a:cubicBezTo>
                  <a:cubicBezTo>
                    <a:pt x="1410" y="1364"/>
                    <a:pt x="1775" y="1509"/>
                    <a:pt x="1775" y="1968"/>
                  </a:cubicBezTo>
                  <a:cubicBezTo>
                    <a:pt x="1775" y="2402"/>
                    <a:pt x="1369" y="2662"/>
                    <a:pt x="977" y="2662"/>
                  </a:cubicBezTo>
                  <a:cubicBezTo>
                    <a:pt x="693" y="2662"/>
                    <a:pt x="416" y="2559"/>
                    <a:pt x="171" y="2365"/>
                  </a:cubicBezTo>
                  <a:cubicBezTo>
                    <a:pt x="343" y="2185"/>
                    <a:pt x="343" y="2185"/>
                    <a:pt x="343" y="2185"/>
                  </a:cubicBezTo>
                  <a:cubicBezTo>
                    <a:pt x="524" y="2341"/>
                    <a:pt x="754" y="2433"/>
                    <a:pt x="977" y="2433"/>
                  </a:cubicBezTo>
                  <a:cubicBezTo>
                    <a:pt x="1273" y="2433"/>
                    <a:pt x="1488" y="2240"/>
                    <a:pt x="1488" y="1976"/>
                  </a:cubicBezTo>
                  <a:cubicBezTo>
                    <a:pt x="1488" y="1656"/>
                    <a:pt x="1192" y="1539"/>
                    <a:pt x="906" y="1427"/>
                  </a:cubicBezTo>
                  <a:cubicBezTo>
                    <a:pt x="790" y="1381"/>
                    <a:pt x="669" y="1334"/>
                    <a:pt x="565" y="1272"/>
                  </a:cubicBezTo>
                  <a:cubicBezTo>
                    <a:pt x="344" y="1144"/>
                    <a:pt x="241" y="981"/>
                    <a:pt x="241" y="760"/>
                  </a:cubicBezTo>
                  <a:cubicBezTo>
                    <a:pt x="241" y="342"/>
                    <a:pt x="640" y="117"/>
                    <a:pt x="1016" y="117"/>
                  </a:cubicBezTo>
                  <a:moveTo>
                    <a:pt x="1016" y="0"/>
                  </a:moveTo>
                  <a:cubicBezTo>
                    <a:pt x="568" y="0"/>
                    <a:pt x="124" y="278"/>
                    <a:pt x="124" y="760"/>
                  </a:cubicBezTo>
                  <a:cubicBezTo>
                    <a:pt x="124" y="1065"/>
                    <a:pt x="294" y="1250"/>
                    <a:pt x="506" y="1374"/>
                  </a:cubicBezTo>
                  <a:cubicBezTo>
                    <a:pt x="869" y="1586"/>
                    <a:pt x="1371" y="1628"/>
                    <a:pt x="1371" y="1976"/>
                  </a:cubicBezTo>
                  <a:cubicBezTo>
                    <a:pt x="1371" y="2173"/>
                    <a:pt x="1209" y="2315"/>
                    <a:pt x="977" y="2315"/>
                  </a:cubicBezTo>
                  <a:cubicBezTo>
                    <a:pt x="730" y="2315"/>
                    <a:pt x="494" y="2188"/>
                    <a:pt x="340" y="2018"/>
                  </a:cubicBezTo>
                  <a:cubicBezTo>
                    <a:pt x="0" y="2373"/>
                    <a:pt x="0" y="2373"/>
                    <a:pt x="0" y="2373"/>
                  </a:cubicBezTo>
                  <a:cubicBezTo>
                    <a:pt x="278" y="2628"/>
                    <a:pt x="614" y="2779"/>
                    <a:pt x="977" y="2779"/>
                  </a:cubicBezTo>
                  <a:cubicBezTo>
                    <a:pt x="1463" y="2779"/>
                    <a:pt x="1892" y="2447"/>
                    <a:pt x="1892" y="1968"/>
                  </a:cubicBezTo>
                  <a:cubicBezTo>
                    <a:pt x="1892" y="1057"/>
                    <a:pt x="645" y="1192"/>
                    <a:pt x="645" y="756"/>
                  </a:cubicBezTo>
                  <a:cubicBezTo>
                    <a:pt x="645" y="548"/>
                    <a:pt x="865" y="463"/>
                    <a:pt x="1062" y="463"/>
                  </a:cubicBezTo>
                  <a:cubicBezTo>
                    <a:pt x="1239" y="463"/>
                    <a:pt x="1421" y="540"/>
                    <a:pt x="1529" y="640"/>
                  </a:cubicBezTo>
                  <a:cubicBezTo>
                    <a:pt x="1799" y="254"/>
                    <a:pt x="1799" y="254"/>
                    <a:pt x="1799" y="254"/>
                  </a:cubicBezTo>
                  <a:cubicBezTo>
                    <a:pt x="1544" y="65"/>
                    <a:pt x="1290" y="0"/>
                    <a:pt x="10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8497888" y="4200525"/>
              <a:ext cx="407988" cy="406400"/>
            </a:xfrm>
            <a:custGeom>
              <a:avLst/>
              <a:gdLst>
                <a:gd name="T0" fmla="*/ 246 w 257"/>
                <a:gd name="T1" fmla="*/ 11 h 256"/>
                <a:gd name="T2" fmla="*/ 246 w 257"/>
                <a:gd name="T3" fmla="*/ 245 h 256"/>
                <a:gd name="T4" fmla="*/ 219 w 257"/>
                <a:gd name="T5" fmla="*/ 245 h 256"/>
                <a:gd name="T6" fmla="*/ 219 w 257"/>
                <a:gd name="T7" fmla="*/ 113 h 256"/>
                <a:gd name="T8" fmla="*/ 219 w 257"/>
                <a:gd name="T9" fmla="*/ 74 h 256"/>
                <a:gd name="T10" fmla="*/ 198 w 257"/>
                <a:gd name="T11" fmla="*/ 108 h 256"/>
                <a:gd name="T12" fmla="*/ 140 w 257"/>
                <a:gd name="T13" fmla="*/ 203 h 256"/>
                <a:gd name="T14" fmla="*/ 118 w 257"/>
                <a:gd name="T15" fmla="*/ 203 h 256"/>
                <a:gd name="T16" fmla="*/ 59 w 257"/>
                <a:gd name="T17" fmla="*/ 108 h 256"/>
                <a:gd name="T18" fmla="*/ 39 w 257"/>
                <a:gd name="T19" fmla="*/ 74 h 256"/>
                <a:gd name="T20" fmla="*/ 39 w 257"/>
                <a:gd name="T21" fmla="*/ 113 h 256"/>
                <a:gd name="T22" fmla="*/ 39 w 257"/>
                <a:gd name="T23" fmla="*/ 245 h 256"/>
                <a:gd name="T24" fmla="*/ 11 w 257"/>
                <a:gd name="T25" fmla="*/ 245 h 256"/>
                <a:gd name="T26" fmla="*/ 11 w 257"/>
                <a:gd name="T27" fmla="*/ 11 h 256"/>
                <a:gd name="T28" fmla="*/ 29 w 257"/>
                <a:gd name="T29" fmla="*/ 11 h 256"/>
                <a:gd name="T30" fmla="*/ 119 w 257"/>
                <a:gd name="T31" fmla="*/ 159 h 256"/>
                <a:gd name="T32" fmla="*/ 129 w 257"/>
                <a:gd name="T33" fmla="*/ 175 h 256"/>
                <a:gd name="T34" fmla="*/ 138 w 257"/>
                <a:gd name="T35" fmla="*/ 159 h 256"/>
                <a:gd name="T36" fmla="*/ 229 w 257"/>
                <a:gd name="T37" fmla="*/ 11 h 256"/>
                <a:gd name="T38" fmla="*/ 246 w 257"/>
                <a:gd name="T39" fmla="*/ 11 h 256"/>
                <a:gd name="T40" fmla="*/ 257 w 257"/>
                <a:gd name="T41" fmla="*/ 0 h 256"/>
                <a:gd name="T42" fmla="*/ 223 w 257"/>
                <a:gd name="T43" fmla="*/ 0 h 256"/>
                <a:gd name="T44" fmla="*/ 129 w 257"/>
                <a:gd name="T45" fmla="*/ 153 h 256"/>
                <a:gd name="T46" fmla="*/ 35 w 257"/>
                <a:gd name="T47" fmla="*/ 0 h 256"/>
                <a:gd name="T48" fmla="*/ 0 w 257"/>
                <a:gd name="T49" fmla="*/ 0 h 256"/>
                <a:gd name="T50" fmla="*/ 0 w 257"/>
                <a:gd name="T51" fmla="*/ 256 h 256"/>
                <a:gd name="T52" fmla="*/ 50 w 257"/>
                <a:gd name="T53" fmla="*/ 256 h 256"/>
                <a:gd name="T54" fmla="*/ 50 w 257"/>
                <a:gd name="T55" fmla="*/ 113 h 256"/>
                <a:gd name="T56" fmla="*/ 112 w 257"/>
                <a:gd name="T57" fmla="*/ 214 h 256"/>
                <a:gd name="T58" fmla="*/ 146 w 257"/>
                <a:gd name="T59" fmla="*/ 214 h 256"/>
                <a:gd name="T60" fmla="*/ 208 w 257"/>
                <a:gd name="T61" fmla="*/ 113 h 256"/>
                <a:gd name="T62" fmla="*/ 208 w 257"/>
                <a:gd name="T63" fmla="*/ 256 h 256"/>
                <a:gd name="T64" fmla="*/ 257 w 257"/>
                <a:gd name="T65" fmla="*/ 256 h 256"/>
                <a:gd name="T66" fmla="*/ 257 w 257"/>
                <a:gd name="T6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56">
                  <a:moveTo>
                    <a:pt x="246" y="11"/>
                  </a:moveTo>
                  <a:lnTo>
                    <a:pt x="246" y="245"/>
                  </a:lnTo>
                  <a:lnTo>
                    <a:pt x="219" y="245"/>
                  </a:lnTo>
                  <a:lnTo>
                    <a:pt x="219" y="113"/>
                  </a:lnTo>
                  <a:lnTo>
                    <a:pt x="219" y="74"/>
                  </a:lnTo>
                  <a:lnTo>
                    <a:pt x="198" y="108"/>
                  </a:lnTo>
                  <a:lnTo>
                    <a:pt x="140" y="203"/>
                  </a:lnTo>
                  <a:lnTo>
                    <a:pt x="118" y="203"/>
                  </a:lnTo>
                  <a:lnTo>
                    <a:pt x="59" y="108"/>
                  </a:lnTo>
                  <a:lnTo>
                    <a:pt x="39" y="74"/>
                  </a:lnTo>
                  <a:lnTo>
                    <a:pt x="39" y="113"/>
                  </a:lnTo>
                  <a:lnTo>
                    <a:pt x="39" y="245"/>
                  </a:lnTo>
                  <a:lnTo>
                    <a:pt x="11" y="245"/>
                  </a:lnTo>
                  <a:lnTo>
                    <a:pt x="11" y="11"/>
                  </a:lnTo>
                  <a:lnTo>
                    <a:pt x="29" y="11"/>
                  </a:lnTo>
                  <a:lnTo>
                    <a:pt x="119" y="159"/>
                  </a:lnTo>
                  <a:lnTo>
                    <a:pt x="129" y="175"/>
                  </a:lnTo>
                  <a:lnTo>
                    <a:pt x="138" y="159"/>
                  </a:lnTo>
                  <a:lnTo>
                    <a:pt x="229" y="11"/>
                  </a:lnTo>
                  <a:lnTo>
                    <a:pt x="246" y="11"/>
                  </a:lnTo>
                  <a:close/>
                  <a:moveTo>
                    <a:pt x="257" y="0"/>
                  </a:moveTo>
                  <a:lnTo>
                    <a:pt x="223" y="0"/>
                  </a:lnTo>
                  <a:lnTo>
                    <a:pt x="129" y="153"/>
                  </a:lnTo>
                  <a:lnTo>
                    <a:pt x="35" y="0"/>
                  </a:lnTo>
                  <a:lnTo>
                    <a:pt x="0" y="0"/>
                  </a:lnTo>
                  <a:lnTo>
                    <a:pt x="0" y="256"/>
                  </a:lnTo>
                  <a:lnTo>
                    <a:pt x="50" y="256"/>
                  </a:lnTo>
                  <a:lnTo>
                    <a:pt x="50" y="113"/>
                  </a:lnTo>
                  <a:lnTo>
                    <a:pt x="112" y="214"/>
                  </a:lnTo>
                  <a:lnTo>
                    <a:pt x="146" y="214"/>
                  </a:lnTo>
                  <a:lnTo>
                    <a:pt x="208" y="113"/>
                  </a:lnTo>
                  <a:lnTo>
                    <a:pt x="208" y="256"/>
                  </a:lnTo>
                  <a:lnTo>
                    <a:pt x="257" y="256"/>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0"/>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moveTo>
                    <a:pt x="78" y="167"/>
                  </a:moveTo>
                  <a:lnTo>
                    <a:pt x="95" y="167"/>
                  </a:lnTo>
                  <a:lnTo>
                    <a:pt x="160" y="167"/>
                  </a:lnTo>
                  <a:lnTo>
                    <a:pt x="177" y="167"/>
                  </a:lnTo>
                  <a:lnTo>
                    <a:pt x="170" y="151"/>
                  </a:lnTo>
                  <a:lnTo>
                    <a:pt x="138" y="75"/>
                  </a:lnTo>
                  <a:lnTo>
                    <a:pt x="127" y="51"/>
                  </a:lnTo>
                  <a:lnTo>
                    <a:pt x="117" y="75"/>
                  </a:lnTo>
                  <a:lnTo>
                    <a:pt x="84" y="151"/>
                  </a:lnTo>
                  <a:lnTo>
                    <a:pt x="78" y="167"/>
                  </a:lnTo>
                  <a:moveTo>
                    <a:pt x="145" y="0"/>
                  </a:moveTo>
                  <a:lnTo>
                    <a:pt x="110" y="0"/>
                  </a:lnTo>
                  <a:lnTo>
                    <a:pt x="0" y="256"/>
                  </a:lnTo>
                  <a:lnTo>
                    <a:pt x="52" y="256"/>
                  </a:lnTo>
                  <a:lnTo>
                    <a:pt x="76" y="199"/>
                  </a:lnTo>
                  <a:lnTo>
                    <a:pt x="179" y="199"/>
                  </a:lnTo>
                  <a:lnTo>
                    <a:pt x="203" y="256"/>
                  </a:lnTo>
                  <a:lnTo>
                    <a:pt x="255" y="256"/>
                  </a:lnTo>
                  <a:lnTo>
                    <a:pt x="145" y="0"/>
                  </a:lnTo>
                  <a:moveTo>
                    <a:pt x="95" y="156"/>
                  </a:moveTo>
                  <a:lnTo>
                    <a:pt x="127" y="80"/>
                  </a:lnTo>
                  <a:lnTo>
                    <a:pt x="160" y="156"/>
                  </a:lnTo>
                  <a:lnTo>
                    <a:pt x="95" y="1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1"/>
            <p:cNvSpPr>
              <a:spLocks noEditPoints="1"/>
            </p:cNvSpPr>
            <p:nvPr userDrawn="1"/>
          </p:nvSpPr>
          <p:spPr bwMode="auto">
            <a:xfrm>
              <a:off x="9763125" y="4200525"/>
              <a:ext cx="295275" cy="406400"/>
            </a:xfrm>
            <a:custGeom>
              <a:avLst/>
              <a:gdLst>
                <a:gd name="T0" fmla="*/ 175 w 186"/>
                <a:gd name="T1" fmla="*/ 11 h 256"/>
                <a:gd name="T2" fmla="*/ 175 w 186"/>
                <a:gd name="T3" fmla="*/ 32 h 256"/>
                <a:gd name="T4" fmla="*/ 118 w 186"/>
                <a:gd name="T5" fmla="*/ 32 h 256"/>
                <a:gd name="T6" fmla="*/ 107 w 186"/>
                <a:gd name="T7" fmla="*/ 32 h 256"/>
                <a:gd name="T8" fmla="*/ 107 w 186"/>
                <a:gd name="T9" fmla="*/ 44 h 256"/>
                <a:gd name="T10" fmla="*/ 107 w 186"/>
                <a:gd name="T11" fmla="*/ 245 h 256"/>
                <a:gd name="T12" fmla="*/ 80 w 186"/>
                <a:gd name="T13" fmla="*/ 245 h 256"/>
                <a:gd name="T14" fmla="*/ 80 w 186"/>
                <a:gd name="T15" fmla="*/ 44 h 256"/>
                <a:gd name="T16" fmla="*/ 80 w 186"/>
                <a:gd name="T17" fmla="*/ 32 h 256"/>
                <a:gd name="T18" fmla="*/ 68 w 186"/>
                <a:gd name="T19" fmla="*/ 32 h 256"/>
                <a:gd name="T20" fmla="*/ 12 w 186"/>
                <a:gd name="T21" fmla="*/ 32 h 256"/>
                <a:gd name="T22" fmla="*/ 12 w 186"/>
                <a:gd name="T23" fmla="*/ 11 h 256"/>
                <a:gd name="T24" fmla="*/ 175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5" y="11"/>
                  </a:moveTo>
                  <a:lnTo>
                    <a:pt x="175" y="32"/>
                  </a:lnTo>
                  <a:lnTo>
                    <a:pt x="118" y="32"/>
                  </a:lnTo>
                  <a:lnTo>
                    <a:pt x="107" y="32"/>
                  </a:lnTo>
                  <a:lnTo>
                    <a:pt x="107" y="44"/>
                  </a:lnTo>
                  <a:lnTo>
                    <a:pt x="107" y="245"/>
                  </a:lnTo>
                  <a:lnTo>
                    <a:pt x="80" y="245"/>
                  </a:lnTo>
                  <a:lnTo>
                    <a:pt x="80" y="44"/>
                  </a:lnTo>
                  <a:lnTo>
                    <a:pt x="80" y="32"/>
                  </a:lnTo>
                  <a:lnTo>
                    <a:pt x="68" y="32"/>
                  </a:lnTo>
                  <a:lnTo>
                    <a:pt x="12" y="32"/>
                  </a:lnTo>
                  <a:lnTo>
                    <a:pt x="12" y="11"/>
                  </a:lnTo>
                  <a:lnTo>
                    <a:pt x="175"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9407525" y="4198938"/>
              <a:ext cx="338138" cy="407988"/>
            </a:xfrm>
            <a:custGeom>
              <a:avLst/>
              <a:gdLst>
                <a:gd name="T0" fmla="*/ 1027 w 2239"/>
                <a:gd name="T1" fmla="*/ 113 h 2704"/>
                <a:gd name="T2" fmla="*/ 1731 w 2239"/>
                <a:gd name="T3" fmla="*/ 361 h 2704"/>
                <a:gd name="T4" fmla="*/ 1923 w 2239"/>
                <a:gd name="T5" fmla="*/ 849 h 2704"/>
                <a:gd name="T6" fmla="*/ 1923 w 2239"/>
                <a:gd name="T7" fmla="*/ 856 h 2704"/>
                <a:gd name="T8" fmla="*/ 1250 w 2239"/>
                <a:gd name="T9" fmla="*/ 1578 h 2704"/>
                <a:gd name="T10" fmla="*/ 2011 w 2239"/>
                <a:gd name="T11" fmla="*/ 2590 h 2704"/>
                <a:gd name="T12" fmla="*/ 1668 w 2239"/>
                <a:gd name="T13" fmla="*/ 2590 h 2704"/>
                <a:gd name="T14" fmla="*/ 949 w 2239"/>
                <a:gd name="T15" fmla="*/ 1628 h 2704"/>
                <a:gd name="T16" fmla="*/ 393 w 2239"/>
                <a:gd name="T17" fmla="*/ 1628 h 2704"/>
                <a:gd name="T18" fmla="*/ 393 w 2239"/>
                <a:gd name="T19" fmla="*/ 2590 h 2704"/>
                <a:gd name="T20" fmla="*/ 114 w 2239"/>
                <a:gd name="T21" fmla="*/ 2590 h 2704"/>
                <a:gd name="T22" fmla="*/ 114 w 2239"/>
                <a:gd name="T23" fmla="*/ 113 h 2704"/>
                <a:gd name="T24" fmla="*/ 1027 w 2239"/>
                <a:gd name="T25" fmla="*/ 113 h 2704"/>
                <a:gd name="T26" fmla="*/ 393 w 2239"/>
                <a:gd name="T27" fmla="*/ 1377 h 2704"/>
                <a:gd name="T28" fmla="*/ 1003 w 2239"/>
                <a:gd name="T29" fmla="*/ 1377 h 2704"/>
                <a:gd name="T30" fmla="*/ 1639 w 2239"/>
                <a:gd name="T31" fmla="*/ 867 h 2704"/>
                <a:gd name="T32" fmla="*/ 1639 w 2239"/>
                <a:gd name="T33" fmla="*/ 860 h 2704"/>
                <a:gd name="T34" fmla="*/ 1006 w 2239"/>
                <a:gd name="T35" fmla="*/ 372 h 2704"/>
                <a:gd name="T36" fmla="*/ 393 w 2239"/>
                <a:gd name="T37" fmla="*/ 372 h 2704"/>
                <a:gd name="T38" fmla="*/ 393 w 2239"/>
                <a:gd name="T39" fmla="*/ 1377 h 2704"/>
                <a:gd name="T40" fmla="*/ 1027 w 2239"/>
                <a:gd name="T41" fmla="*/ 0 h 2704"/>
                <a:gd name="T42" fmla="*/ 114 w 2239"/>
                <a:gd name="T43" fmla="*/ 0 h 2704"/>
                <a:gd name="T44" fmla="*/ 0 w 2239"/>
                <a:gd name="T45" fmla="*/ 0 h 2704"/>
                <a:gd name="T46" fmla="*/ 0 w 2239"/>
                <a:gd name="T47" fmla="*/ 113 h 2704"/>
                <a:gd name="T48" fmla="*/ 0 w 2239"/>
                <a:gd name="T49" fmla="*/ 2590 h 2704"/>
                <a:gd name="T50" fmla="*/ 0 w 2239"/>
                <a:gd name="T51" fmla="*/ 2704 h 2704"/>
                <a:gd name="T52" fmla="*/ 114 w 2239"/>
                <a:gd name="T53" fmla="*/ 2704 h 2704"/>
                <a:gd name="T54" fmla="*/ 393 w 2239"/>
                <a:gd name="T55" fmla="*/ 2704 h 2704"/>
                <a:gd name="T56" fmla="*/ 507 w 2239"/>
                <a:gd name="T57" fmla="*/ 2704 h 2704"/>
                <a:gd name="T58" fmla="*/ 507 w 2239"/>
                <a:gd name="T59" fmla="*/ 2590 h 2704"/>
                <a:gd name="T60" fmla="*/ 507 w 2239"/>
                <a:gd name="T61" fmla="*/ 1742 h 2704"/>
                <a:gd name="T62" fmla="*/ 892 w 2239"/>
                <a:gd name="T63" fmla="*/ 1742 h 2704"/>
                <a:gd name="T64" fmla="*/ 1577 w 2239"/>
                <a:gd name="T65" fmla="*/ 2658 h 2704"/>
                <a:gd name="T66" fmla="*/ 1611 w 2239"/>
                <a:gd name="T67" fmla="*/ 2704 h 2704"/>
                <a:gd name="T68" fmla="*/ 1668 w 2239"/>
                <a:gd name="T69" fmla="*/ 2704 h 2704"/>
                <a:gd name="T70" fmla="*/ 2011 w 2239"/>
                <a:gd name="T71" fmla="*/ 2704 h 2704"/>
                <a:gd name="T72" fmla="*/ 2239 w 2239"/>
                <a:gd name="T73" fmla="*/ 2704 h 2704"/>
                <a:gd name="T74" fmla="*/ 2102 w 2239"/>
                <a:gd name="T75" fmla="*/ 2522 h 2704"/>
                <a:gd name="T76" fmla="*/ 1443 w 2239"/>
                <a:gd name="T77" fmla="*/ 1646 h 2704"/>
                <a:gd name="T78" fmla="*/ 2036 w 2239"/>
                <a:gd name="T79" fmla="*/ 856 h 2704"/>
                <a:gd name="T80" fmla="*/ 2036 w 2239"/>
                <a:gd name="T81" fmla="*/ 849 h 2704"/>
                <a:gd name="T82" fmla="*/ 1812 w 2239"/>
                <a:gd name="T83" fmla="*/ 281 h 2704"/>
                <a:gd name="T84" fmla="*/ 1027 w 2239"/>
                <a:gd name="T85" fmla="*/ 0 h 2704"/>
                <a:gd name="T86" fmla="*/ 507 w 2239"/>
                <a:gd name="T87" fmla="*/ 485 h 2704"/>
                <a:gd name="T88" fmla="*/ 1006 w 2239"/>
                <a:gd name="T89" fmla="*/ 485 h 2704"/>
                <a:gd name="T90" fmla="*/ 1526 w 2239"/>
                <a:gd name="T91" fmla="*/ 860 h 2704"/>
                <a:gd name="T92" fmla="*/ 1526 w 2239"/>
                <a:gd name="T93" fmla="*/ 867 h 2704"/>
                <a:gd name="T94" fmla="*/ 1003 w 2239"/>
                <a:gd name="T95" fmla="*/ 1263 h 2704"/>
                <a:gd name="T96" fmla="*/ 507 w 2239"/>
                <a:gd name="T97" fmla="*/ 1263 h 2704"/>
                <a:gd name="T98" fmla="*/ 507 w 2239"/>
                <a:gd name="T99" fmla="*/ 485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9" h="2704">
                  <a:moveTo>
                    <a:pt x="1027" y="113"/>
                  </a:moveTo>
                  <a:cubicBezTo>
                    <a:pt x="1332" y="113"/>
                    <a:pt x="1576" y="205"/>
                    <a:pt x="1731" y="361"/>
                  </a:cubicBezTo>
                  <a:cubicBezTo>
                    <a:pt x="1852" y="481"/>
                    <a:pt x="1923" y="655"/>
                    <a:pt x="1923" y="849"/>
                  </a:cubicBezTo>
                  <a:cubicBezTo>
                    <a:pt x="1923" y="856"/>
                    <a:pt x="1923" y="856"/>
                    <a:pt x="1923" y="856"/>
                  </a:cubicBezTo>
                  <a:cubicBezTo>
                    <a:pt x="1923" y="1267"/>
                    <a:pt x="1639" y="1508"/>
                    <a:pt x="1250" y="1578"/>
                  </a:cubicBezTo>
                  <a:cubicBezTo>
                    <a:pt x="2011" y="2590"/>
                    <a:pt x="2011" y="2590"/>
                    <a:pt x="2011" y="2590"/>
                  </a:cubicBezTo>
                  <a:cubicBezTo>
                    <a:pt x="1668" y="2590"/>
                    <a:pt x="1668" y="2590"/>
                    <a:pt x="1668" y="2590"/>
                  </a:cubicBezTo>
                  <a:cubicBezTo>
                    <a:pt x="949" y="1628"/>
                    <a:pt x="949" y="1628"/>
                    <a:pt x="949" y="1628"/>
                  </a:cubicBezTo>
                  <a:cubicBezTo>
                    <a:pt x="393" y="1628"/>
                    <a:pt x="393" y="1628"/>
                    <a:pt x="393" y="1628"/>
                  </a:cubicBezTo>
                  <a:cubicBezTo>
                    <a:pt x="393" y="2590"/>
                    <a:pt x="393" y="2590"/>
                    <a:pt x="393" y="2590"/>
                  </a:cubicBezTo>
                  <a:cubicBezTo>
                    <a:pt x="114" y="2590"/>
                    <a:pt x="114" y="2590"/>
                    <a:pt x="114" y="2590"/>
                  </a:cubicBezTo>
                  <a:cubicBezTo>
                    <a:pt x="114" y="113"/>
                    <a:pt x="114" y="113"/>
                    <a:pt x="114" y="113"/>
                  </a:cubicBezTo>
                  <a:cubicBezTo>
                    <a:pt x="1027" y="113"/>
                    <a:pt x="1027" y="113"/>
                    <a:pt x="1027" y="113"/>
                  </a:cubicBezTo>
                  <a:moveTo>
                    <a:pt x="393" y="1377"/>
                  </a:moveTo>
                  <a:cubicBezTo>
                    <a:pt x="1003" y="1377"/>
                    <a:pt x="1003" y="1377"/>
                    <a:pt x="1003" y="1377"/>
                  </a:cubicBezTo>
                  <a:cubicBezTo>
                    <a:pt x="1374" y="1377"/>
                    <a:pt x="1639" y="1186"/>
                    <a:pt x="1639" y="867"/>
                  </a:cubicBezTo>
                  <a:cubicBezTo>
                    <a:pt x="1639" y="860"/>
                    <a:pt x="1639" y="860"/>
                    <a:pt x="1639" y="860"/>
                  </a:cubicBezTo>
                  <a:cubicBezTo>
                    <a:pt x="1639" y="556"/>
                    <a:pt x="1406" y="372"/>
                    <a:pt x="1006" y="372"/>
                  </a:cubicBezTo>
                  <a:cubicBezTo>
                    <a:pt x="393" y="372"/>
                    <a:pt x="393" y="372"/>
                    <a:pt x="393" y="372"/>
                  </a:cubicBezTo>
                  <a:cubicBezTo>
                    <a:pt x="393" y="1377"/>
                    <a:pt x="393" y="1377"/>
                    <a:pt x="393" y="1377"/>
                  </a:cubicBezTo>
                  <a:moveTo>
                    <a:pt x="1027" y="0"/>
                  </a:moveTo>
                  <a:cubicBezTo>
                    <a:pt x="114" y="0"/>
                    <a:pt x="114" y="0"/>
                    <a:pt x="114" y="0"/>
                  </a:cubicBezTo>
                  <a:cubicBezTo>
                    <a:pt x="0" y="0"/>
                    <a:pt x="0" y="0"/>
                    <a:pt x="0" y="0"/>
                  </a:cubicBezTo>
                  <a:cubicBezTo>
                    <a:pt x="0" y="113"/>
                    <a:pt x="0" y="113"/>
                    <a:pt x="0" y="113"/>
                  </a:cubicBezTo>
                  <a:cubicBezTo>
                    <a:pt x="0" y="2590"/>
                    <a:pt x="0" y="2590"/>
                    <a:pt x="0" y="2590"/>
                  </a:cubicBezTo>
                  <a:cubicBezTo>
                    <a:pt x="0" y="2704"/>
                    <a:pt x="0" y="2704"/>
                    <a:pt x="0" y="2704"/>
                  </a:cubicBezTo>
                  <a:cubicBezTo>
                    <a:pt x="114" y="2704"/>
                    <a:pt x="114" y="2704"/>
                    <a:pt x="114" y="2704"/>
                  </a:cubicBezTo>
                  <a:cubicBezTo>
                    <a:pt x="393" y="2704"/>
                    <a:pt x="393" y="2704"/>
                    <a:pt x="393" y="2704"/>
                  </a:cubicBezTo>
                  <a:cubicBezTo>
                    <a:pt x="507" y="2704"/>
                    <a:pt x="507" y="2704"/>
                    <a:pt x="507" y="2704"/>
                  </a:cubicBezTo>
                  <a:cubicBezTo>
                    <a:pt x="507" y="2590"/>
                    <a:pt x="507" y="2590"/>
                    <a:pt x="507" y="2590"/>
                  </a:cubicBezTo>
                  <a:cubicBezTo>
                    <a:pt x="507" y="1742"/>
                    <a:pt x="507" y="1742"/>
                    <a:pt x="507" y="1742"/>
                  </a:cubicBezTo>
                  <a:cubicBezTo>
                    <a:pt x="892" y="1742"/>
                    <a:pt x="892" y="1742"/>
                    <a:pt x="892" y="1742"/>
                  </a:cubicBezTo>
                  <a:cubicBezTo>
                    <a:pt x="1577" y="2658"/>
                    <a:pt x="1577" y="2658"/>
                    <a:pt x="1577" y="2658"/>
                  </a:cubicBezTo>
                  <a:cubicBezTo>
                    <a:pt x="1611" y="2704"/>
                    <a:pt x="1611" y="2704"/>
                    <a:pt x="1611" y="2704"/>
                  </a:cubicBezTo>
                  <a:cubicBezTo>
                    <a:pt x="1668" y="2704"/>
                    <a:pt x="1668" y="2704"/>
                    <a:pt x="1668" y="2704"/>
                  </a:cubicBezTo>
                  <a:cubicBezTo>
                    <a:pt x="2011" y="2704"/>
                    <a:pt x="2011" y="2704"/>
                    <a:pt x="2011" y="2704"/>
                  </a:cubicBezTo>
                  <a:cubicBezTo>
                    <a:pt x="2239" y="2704"/>
                    <a:pt x="2239" y="2704"/>
                    <a:pt x="2239" y="2704"/>
                  </a:cubicBezTo>
                  <a:cubicBezTo>
                    <a:pt x="2102" y="2522"/>
                    <a:pt x="2102" y="2522"/>
                    <a:pt x="2102" y="2522"/>
                  </a:cubicBezTo>
                  <a:cubicBezTo>
                    <a:pt x="1443" y="1646"/>
                    <a:pt x="1443" y="1646"/>
                    <a:pt x="1443" y="1646"/>
                  </a:cubicBezTo>
                  <a:cubicBezTo>
                    <a:pt x="1818" y="1522"/>
                    <a:pt x="2036" y="1236"/>
                    <a:pt x="2036" y="856"/>
                  </a:cubicBezTo>
                  <a:cubicBezTo>
                    <a:pt x="2036" y="849"/>
                    <a:pt x="2036" y="849"/>
                    <a:pt x="2036" y="849"/>
                  </a:cubicBezTo>
                  <a:cubicBezTo>
                    <a:pt x="2036" y="627"/>
                    <a:pt x="1956" y="426"/>
                    <a:pt x="1812" y="281"/>
                  </a:cubicBezTo>
                  <a:cubicBezTo>
                    <a:pt x="1631" y="100"/>
                    <a:pt x="1352" y="0"/>
                    <a:pt x="1027" y="0"/>
                  </a:cubicBezTo>
                  <a:moveTo>
                    <a:pt x="507" y="485"/>
                  </a:moveTo>
                  <a:cubicBezTo>
                    <a:pt x="1006" y="485"/>
                    <a:pt x="1006" y="485"/>
                    <a:pt x="1006" y="485"/>
                  </a:cubicBezTo>
                  <a:cubicBezTo>
                    <a:pt x="1458" y="485"/>
                    <a:pt x="1526" y="720"/>
                    <a:pt x="1526" y="860"/>
                  </a:cubicBezTo>
                  <a:cubicBezTo>
                    <a:pt x="1526" y="867"/>
                    <a:pt x="1526" y="867"/>
                    <a:pt x="1526" y="867"/>
                  </a:cubicBezTo>
                  <a:cubicBezTo>
                    <a:pt x="1526" y="1059"/>
                    <a:pt x="1388" y="1263"/>
                    <a:pt x="1003" y="1263"/>
                  </a:cubicBezTo>
                  <a:cubicBezTo>
                    <a:pt x="507" y="1263"/>
                    <a:pt x="507" y="1263"/>
                    <a:pt x="507" y="1263"/>
                  </a:cubicBezTo>
                  <a:lnTo>
                    <a:pt x="507" y="4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noEditPoints="1"/>
            </p:cNvSpPr>
            <p:nvPr userDrawn="1"/>
          </p:nvSpPr>
          <p:spPr bwMode="auto">
            <a:xfrm>
              <a:off x="6905625" y="4194175"/>
              <a:ext cx="450850" cy="419100"/>
            </a:xfrm>
            <a:custGeom>
              <a:avLst/>
              <a:gdLst>
                <a:gd name="T0" fmla="*/ 2979 w 2979"/>
                <a:gd name="T1" fmla="*/ 1386 h 2771"/>
                <a:gd name="T2" fmla="*/ 1619 w 2979"/>
                <a:gd name="T3" fmla="*/ 2 h 2771"/>
                <a:gd name="T4" fmla="*/ 1562 w 2979"/>
                <a:gd name="T5" fmla="*/ 2 h 2771"/>
                <a:gd name="T6" fmla="*/ 1279 w 2979"/>
                <a:gd name="T7" fmla="*/ 6 h 2771"/>
                <a:gd name="T8" fmla="*/ 0 w 2979"/>
                <a:gd name="T9" fmla="*/ 1386 h 2771"/>
                <a:gd name="T10" fmla="*/ 1375 w 2979"/>
                <a:gd name="T11" fmla="*/ 2770 h 2771"/>
                <a:gd name="T12" fmla="*/ 1429 w 2979"/>
                <a:gd name="T13" fmla="*/ 2770 h 2771"/>
                <a:gd name="T14" fmla="*/ 1516 w 2979"/>
                <a:gd name="T15" fmla="*/ 2771 h 2771"/>
                <a:gd name="T16" fmla="*/ 1639 w 2979"/>
                <a:gd name="T17" fmla="*/ 2766 h 2771"/>
                <a:gd name="T18" fmla="*/ 2979 w 2979"/>
                <a:gd name="T19" fmla="*/ 1386 h 2771"/>
                <a:gd name="T20" fmla="*/ 106 w 2979"/>
                <a:gd name="T21" fmla="*/ 1386 h 2771"/>
                <a:gd name="T22" fmla="*/ 1343 w 2979"/>
                <a:gd name="T23" fmla="*/ 111 h 2771"/>
                <a:gd name="T24" fmla="*/ 2506 w 2979"/>
                <a:gd name="T25" fmla="*/ 1386 h 2771"/>
                <a:gd name="T26" fmla="*/ 2504 w 2979"/>
                <a:gd name="T27" fmla="*/ 1386 h 2771"/>
                <a:gd name="T28" fmla="*/ 1768 w 2979"/>
                <a:gd name="T29" fmla="*/ 2300 h 2771"/>
                <a:gd name="T30" fmla="*/ 2244 w 2979"/>
                <a:gd name="T31" fmla="*/ 1362 h 2771"/>
                <a:gd name="T32" fmla="*/ 1981 w 2979"/>
                <a:gd name="T33" fmla="*/ 609 h 2771"/>
                <a:gd name="T34" fmla="*/ 1343 w 2979"/>
                <a:gd name="T35" fmla="*/ 355 h 2771"/>
                <a:gd name="T36" fmla="*/ 579 w 2979"/>
                <a:gd name="T37" fmla="*/ 724 h 2771"/>
                <a:gd name="T38" fmla="*/ 341 w 2979"/>
                <a:gd name="T39" fmla="*/ 1388 h 2771"/>
                <a:gd name="T40" fmla="*/ 1011 w 2979"/>
                <a:gd name="T41" fmla="*/ 2612 h 2771"/>
                <a:gd name="T42" fmla="*/ 106 w 2979"/>
                <a:gd name="T43" fmla="*/ 1386 h 2771"/>
                <a:gd name="T44" fmla="*/ 1453 w 2979"/>
                <a:gd name="T45" fmla="*/ 468 h 2771"/>
                <a:gd name="T46" fmla="*/ 1904 w 2979"/>
                <a:gd name="T47" fmla="*/ 683 h 2771"/>
                <a:gd name="T48" fmla="*/ 2138 w 2979"/>
                <a:gd name="T49" fmla="*/ 1359 h 2771"/>
                <a:gd name="T50" fmla="*/ 1500 w 2979"/>
                <a:gd name="T51" fmla="*/ 2299 h 2771"/>
                <a:gd name="T52" fmla="*/ 817 w 2979"/>
                <a:gd name="T53" fmla="*/ 1386 h 2771"/>
                <a:gd name="T54" fmla="*/ 1453 w 2979"/>
                <a:gd name="T55" fmla="*/ 468 h 2771"/>
                <a:gd name="T56" fmla="*/ 1636 w 2979"/>
                <a:gd name="T57" fmla="*/ 2660 h 2771"/>
                <a:gd name="T58" fmla="*/ 448 w 2979"/>
                <a:gd name="T59" fmla="*/ 1388 h 2771"/>
                <a:gd name="T60" fmla="*/ 662 w 2979"/>
                <a:gd name="T61" fmla="*/ 790 h 2771"/>
                <a:gd name="T62" fmla="*/ 1138 w 2979"/>
                <a:gd name="T63" fmla="*/ 484 h 2771"/>
                <a:gd name="T64" fmla="*/ 710 w 2979"/>
                <a:gd name="T65" fmla="*/ 1386 h 2771"/>
                <a:gd name="T66" fmla="*/ 1636 w 2979"/>
                <a:gd name="T67" fmla="*/ 2416 h 2771"/>
                <a:gd name="T68" fmla="*/ 2611 w 2979"/>
                <a:gd name="T69" fmla="*/ 1386 h 2771"/>
                <a:gd name="T70" fmla="*/ 2613 w 2979"/>
                <a:gd name="T71" fmla="*/ 1386 h 2771"/>
                <a:gd name="T72" fmla="*/ 1933 w 2979"/>
                <a:gd name="T73" fmla="*/ 147 h 2771"/>
                <a:gd name="T74" fmla="*/ 2873 w 2979"/>
                <a:gd name="T75" fmla="*/ 1386 h 2771"/>
                <a:gd name="T76" fmla="*/ 1636 w 2979"/>
                <a:gd name="T77" fmla="*/ 2660 h 2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79" h="2771">
                  <a:moveTo>
                    <a:pt x="2979" y="1386"/>
                  </a:moveTo>
                  <a:cubicBezTo>
                    <a:pt x="2979" y="610"/>
                    <a:pt x="2382" y="2"/>
                    <a:pt x="1619" y="2"/>
                  </a:cubicBezTo>
                  <a:cubicBezTo>
                    <a:pt x="1606" y="3"/>
                    <a:pt x="1586" y="2"/>
                    <a:pt x="1562" y="2"/>
                  </a:cubicBezTo>
                  <a:cubicBezTo>
                    <a:pt x="1446" y="1"/>
                    <a:pt x="1328" y="0"/>
                    <a:pt x="1279" y="6"/>
                  </a:cubicBezTo>
                  <a:cubicBezTo>
                    <a:pt x="545" y="38"/>
                    <a:pt x="0" y="620"/>
                    <a:pt x="0" y="1386"/>
                  </a:cubicBezTo>
                  <a:cubicBezTo>
                    <a:pt x="0" y="2162"/>
                    <a:pt x="604" y="2770"/>
                    <a:pt x="1375" y="2770"/>
                  </a:cubicBezTo>
                  <a:cubicBezTo>
                    <a:pt x="1390" y="2770"/>
                    <a:pt x="1408" y="2770"/>
                    <a:pt x="1429" y="2770"/>
                  </a:cubicBezTo>
                  <a:cubicBezTo>
                    <a:pt x="1456" y="2771"/>
                    <a:pt x="1486" y="2771"/>
                    <a:pt x="1516" y="2771"/>
                  </a:cubicBezTo>
                  <a:cubicBezTo>
                    <a:pt x="1563" y="2771"/>
                    <a:pt x="1608" y="2770"/>
                    <a:pt x="1639" y="2766"/>
                  </a:cubicBezTo>
                  <a:cubicBezTo>
                    <a:pt x="2403" y="2765"/>
                    <a:pt x="2979" y="2172"/>
                    <a:pt x="2979" y="1386"/>
                  </a:cubicBezTo>
                  <a:moveTo>
                    <a:pt x="106" y="1386"/>
                  </a:moveTo>
                  <a:cubicBezTo>
                    <a:pt x="106" y="659"/>
                    <a:pt x="638" y="111"/>
                    <a:pt x="1343" y="111"/>
                  </a:cubicBezTo>
                  <a:cubicBezTo>
                    <a:pt x="2028" y="111"/>
                    <a:pt x="2506" y="635"/>
                    <a:pt x="2506" y="1386"/>
                  </a:cubicBezTo>
                  <a:cubicBezTo>
                    <a:pt x="2504" y="1386"/>
                    <a:pt x="2504" y="1386"/>
                    <a:pt x="2504" y="1386"/>
                  </a:cubicBezTo>
                  <a:cubicBezTo>
                    <a:pt x="2504" y="1864"/>
                    <a:pt x="2196" y="2236"/>
                    <a:pt x="1768" y="2300"/>
                  </a:cubicBezTo>
                  <a:cubicBezTo>
                    <a:pt x="2022" y="2137"/>
                    <a:pt x="2232" y="1810"/>
                    <a:pt x="2244" y="1362"/>
                  </a:cubicBezTo>
                  <a:cubicBezTo>
                    <a:pt x="2252" y="1059"/>
                    <a:pt x="2158" y="791"/>
                    <a:pt x="1981" y="609"/>
                  </a:cubicBezTo>
                  <a:cubicBezTo>
                    <a:pt x="1819" y="443"/>
                    <a:pt x="1598" y="355"/>
                    <a:pt x="1343" y="355"/>
                  </a:cubicBezTo>
                  <a:cubicBezTo>
                    <a:pt x="1034" y="355"/>
                    <a:pt x="769" y="483"/>
                    <a:pt x="579" y="724"/>
                  </a:cubicBezTo>
                  <a:cubicBezTo>
                    <a:pt x="432" y="909"/>
                    <a:pt x="341" y="1164"/>
                    <a:pt x="341" y="1388"/>
                  </a:cubicBezTo>
                  <a:cubicBezTo>
                    <a:pt x="341" y="1941"/>
                    <a:pt x="602" y="2388"/>
                    <a:pt x="1011" y="2612"/>
                  </a:cubicBezTo>
                  <a:cubicBezTo>
                    <a:pt x="482" y="2458"/>
                    <a:pt x="106" y="1974"/>
                    <a:pt x="106" y="1386"/>
                  </a:cubicBezTo>
                  <a:moveTo>
                    <a:pt x="1453" y="468"/>
                  </a:moveTo>
                  <a:cubicBezTo>
                    <a:pt x="1632" y="489"/>
                    <a:pt x="1787" y="562"/>
                    <a:pt x="1904" y="683"/>
                  </a:cubicBezTo>
                  <a:cubicBezTo>
                    <a:pt x="2062" y="845"/>
                    <a:pt x="2145" y="1085"/>
                    <a:pt x="2138" y="1359"/>
                  </a:cubicBezTo>
                  <a:cubicBezTo>
                    <a:pt x="2127" y="1754"/>
                    <a:pt x="1901" y="2215"/>
                    <a:pt x="1500" y="2299"/>
                  </a:cubicBezTo>
                  <a:cubicBezTo>
                    <a:pt x="1091" y="2234"/>
                    <a:pt x="817" y="1877"/>
                    <a:pt x="817" y="1386"/>
                  </a:cubicBezTo>
                  <a:cubicBezTo>
                    <a:pt x="817" y="907"/>
                    <a:pt x="1066" y="548"/>
                    <a:pt x="1453" y="468"/>
                  </a:cubicBezTo>
                  <a:moveTo>
                    <a:pt x="1636" y="2660"/>
                  </a:moveTo>
                  <a:cubicBezTo>
                    <a:pt x="947" y="2660"/>
                    <a:pt x="448" y="2125"/>
                    <a:pt x="448" y="1388"/>
                  </a:cubicBezTo>
                  <a:cubicBezTo>
                    <a:pt x="448" y="1186"/>
                    <a:pt x="530" y="957"/>
                    <a:pt x="662" y="790"/>
                  </a:cubicBezTo>
                  <a:cubicBezTo>
                    <a:pt x="788" y="631"/>
                    <a:pt x="950" y="527"/>
                    <a:pt x="1138" y="484"/>
                  </a:cubicBezTo>
                  <a:cubicBezTo>
                    <a:pt x="871" y="659"/>
                    <a:pt x="710" y="985"/>
                    <a:pt x="710" y="1386"/>
                  </a:cubicBezTo>
                  <a:cubicBezTo>
                    <a:pt x="710" y="1992"/>
                    <a:pt x="1091" y="2416"/>
                    <a:pt x="1636" y="2416"/>
                  </a:cubicBezTo>
                  <a:cubicBezTo>
                    <a:pt x="2191" y="2416"/>
                    <a:pt x="2611" y="1973"/>
                    <a:pt x="2611" y="1386"/>
                  </a:cubicBezTo>
                  <a:cubicBezTo>
                    <a:pt x="2613" y="1386"/>
                    <a:pt x="2613" y="1386"/>
                    <a:pt x="2613" y="1386"/>
                  </a:cubicBezTo>
                  <a:cubicBezTo>
                    <a:pt x="2613" y="821"/>
                    <a:pt x="2347" y="367"/>
                    <a:pt x="1933" y="147"/>
                  </a:cubicBezTo>
                  <a:cubicBezTo>
                    <a:pt x="2479" y="286"/>
                    <a:pt x="2873" y="780"/>
                    <a:pt x="2873" y="1386"/>
                  </a:cubicBezTo>
                  <a:cubicBezTo>
                    <a:pt x="2873" y="2112"/>
                    <a:pt x="2341" y="2660"/>
                    <a:pt x="1636" y="26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9" name="Title 1"/>
          <p:cNvSpPr>
            <a:spLocks noGrp="1"/>
          </p:cNvSpPr>
          <p:nvPr>
            <p:ph type="ctrTitle" hasCustomPrompt="1"/>
          </p:nvPr>
        </p:nvSpPr>
        <p:spPr>
          <a:xfrm>
            <a:off x="430690" y="463552"/>
            <a:ext cx="5666898" cy="1298574"/>
          </a:xfrm>
        </p:spPr>
        <p:txBody>
          <a:bodyPr anchor="b" anchorCtr="0">
            <a:normAutofit/>
          </a:bodyPr>
          <a:lstStyle>
            <a:lvl1pPr>
              <a:lnSpc>
                <a:spcPct val="90000"/>
              </a:lnSpc>
              <a:defRPr sz="1800">
                <a:solidFill>
                  <a:schemeClr val="bg1"/>
                </a:solidFill>
              </a:defRPr>
            </a:lvl1pPr>
          </a:lstStyle>
          <a:p>
            <a:r>
              <a:rPr lang="en-US" dirty="0"/>
              <a:t>Master title style</a:t>
            </a:r>
            <a:endParaRPr lang="en-GB" dirty="0"/>
          </a:p>
        </p:txBody>
      </p:sp>
      <p:sp>
        <p:nvSpPr>
          <p:cNvPr id="20" name="Subtitle 2"/>
          <p:cNvSpPr>
            <a:spLocks noGrp="1"/>
          </p:cNvSpPr>
          <p:nvPr>
            <p:ph type="subTitle" idx="1" hasCustomPrompt="1"/>
          </p:nvPr>
        </p:nvSpPr>
        <p:spPr>
          <a:xfrm>
            <a:off x="430690" y="1828801"/>
            <a:ext cx="5667628" cy="1152524"/>
          </a:xfrm>
        </p:spPr>
        <p:txBody>
          <a:bodyPr>
            <a:normAutofit/>
          </a:bodyPr>
          <a:lstStyle>
            <a:lvl1pPr marL="0" indent="0" algn="l">
              <a:lnSpc>
                <a:spcPct val="90000"/>
              </a:lnSpc>
              <a:spcBef>
                <a:spcPts val="600"/>
              </a:spcBef>
              <a:buNone/>
              <a:defRPr sz="18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Master subtitle style</a:t>
            </a:r>
            <a:endParaRPr lang="en-GB" dirty="0"/>
          </a:p>
        </p:txBody>
      </p:sp>
      <p:sp>
        <p:nvSpPr>
          <p:cNvPr id="21" name="Text Placeholder 21"/>
          <p:cNvSpPr>
            <a:spLocks noGrp="1"/>
          </p:cNvSpPr>
          <p:nvPr>
            <p:ph type="body" sz="quarter" idx="13" hasCustomPrompt="1"/>
          </p:nvPr>
        </p:nvSpPr>
        <p:spPr>
          <a:xfrm>
            <a:off x="438150" y="3086100"/>
            <a:ext cx="5667375" cy="838200"/>
          </a:xfrm>
        </p:spPr>
        <p:txBody>
          <a:bodyPr>
            <a:noAutofit/>
          </a:bodyPr>
          <a:lstStyle>
            <a:lvl1pPr marL="0" indent="0">
              <a:buFont typeface="Arial" panose="020B0604020202020204" pitchFamily="34" charset="0"/>
              <a:buNone/>
              <a:defRPr sz="1800" b="0">
                <a:solidFill>
                  <a:schemeClr val="bg1"/>
                </a:solidFill>
                <a:latin typeface="+mj-lt"/>
              </a:defRPr>
            </a:lvl1pPr>
            <a:lvl2pPr marL="0" indent="0">
              <a:buFont typeface="Arial" panose="020B0604020202020204" pitchFamily="34" charset="0"/>
              <a:buNone/>
              <a:defRPr sz="1400" b="0">
                <a:solidFill>
                  <a:schemeClr val="bg1"/>
                </a:solidFill>
                <a:latin typeface="+mn-lt"/>
              </a:defRPr>
            </a:lvl2pPr>
            <a:lvl3pPr marL="0" indent="0">
              <a:buNone/>
              <a:defRPr sz="1400" b="0">
                <a:solidFill>
                  <a:schemeClr val="bg1"/>
                </a:solidFill>
                <a:latin typeface="+mn-lt"/>
              </a:defRPr>
            </a:lvl3pPr>
            <a:lvl4pPr marL="0" indent="0">
              <a:buNone/>
              <a:defRPr sz="1400" b="0">
                <a:solidFill>
                  <a:schemeClr val="bg1"/>
                </a:solidFill>
                <a:latin typeface="+mn-lt"/>
              </a:defRPr>
            </a:lvl4pPr>
            <a:lvl5pPr marL="0" indent="0">
              <a:buNone/>
              <a:defRPr sz="1400" b="0">
                <a:solidFill>
                  <a:schemeClr val="bg1"/>
                </a:solidFill>
                <a:latin typeface="+mn-lt"/>
              </a:defRPr>
            </a:lvl5pPr>
          </a:lstStyle>
          <a:p>
            <a:pPr lvl="0"/>
            <a:r>
              <a:rPr lang="en-US" dirty="0"/>
              <a:t>Date</a:t>
            </a:r>
            <a:endParaRPr lang="en-GB" dirty="0"/>
          </a:p>
        </p:txBody>
      </p:sp>
    </p:spTree>
    <p:extLst>
      <p:ext uri="{BB962C8B-B14F-4D97-AF65-F5344CB8AC3E}">
        <p14:creationId xmlns:p14="http://schemas.microsoft.com/office/powerpoint/2010/main" val="35750471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Final Slide 5">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7" y="820"/>
            <a:ext cx="12190540" cy="6857178"/>
          </a:xfrm>
          <a:prstGeom prst="rect">
            <a:avLst/>
          </a:prstGeom>
        </p:spPr>
      </p:pic>
      <p:grpSp>
        <p:nvGrpSpPr>
          <p:cNvPr id="8" name="Group 7"/>
          <p:cNvGrpSpPr>
            <a:grpSpLocks noChangeAspect="1"/>
          </p:cNvGrpSpPr>
          <p:nvPr userDrawn="1"/>
        </p:nvGrpSpPr>
        <p:grpSpPr>
          <a:xfrm>
            <a:off x="438149" y="6230422"/>
            <a:ext cx="1476000" cy="196205"/>
            <a:chOff x="6905625" y="4194175"/>
            <a:chExt cx="3152775" cy="419100"/>
          </a:xfrm>
          <a:solidFill>
            <a:schemeClr val="bg1"/>
          </a:solidFill>
        </p:grpSpPr>
        <p:sp>
          <p:nvSpPr>
            <p:cNvPr id="9" name="Freeform 6"/>
            <p:cNvSpPr>
              <a:spLocks noEditPoints="1"/>
            </p:cNvSpPr>
            <p:nvPr userDrawn="1"/>
          </p:nvSpPr>
          <p:spPr bwMode="auto">
            <a:xfrm>
              <a:off x="7824788" y="4200525"/>
              <a:ext cx="295275" cy="406400"/>
            </a:xfrm>
            <a:custGeom>
              <a:avLst/>
              <a:gdLst>
                <a:gd name="T0" fmla="*/ 174 w 186"/>
                <a:gd name="T1" fmla="*/ 11 h 256"/>
                <a:gd name="T2" fmla="*/ 174 w 186"/>
                <a:gd name="T3" fmla="*/ 32 h 256"/>
                <a:gd name="T4" fmla="*/ 118 w 186"/>
                <a:gd name="T5" fmla="*/ 32 h 256"/>
                <a:gd name="T6" fmla="*/ 106 w 186"/>
                <a:gd name="T7" fmla="*/ 32 h 256"/>
                <a:gd name="T8" fmla="*/ 106 w 186"/>
                <a:gd name="T9" fmla="*/ 44 h 256"/>
                <a:gd name="T10" fmla="*/ 106 w 186"/>
                <a:gd name="T11" fmla="*/ 245 h 256"/>
                <a:gd name="T12" fmla="*/ 79 w 186"/>
                <a:gd name="T13" fmla="*/ 245 h 256"/>
                <a:gd name="T14" fmla="*/ 79 w 186"/>
                <a:gd name="T15" fmla="*/ 44 h 256"/>
                <a:gd name="T16" fmla="*/ 79 w 186"/>
                <a:gd name="T17" fmla="*/ 32 h 256"/>
                <a:gd name="T18" fmla="*/ 68 w 186"/>
                <a:gd name="T19" fmla="*/ 32 h 256"/>
                <a:gd name="T20" fmla="*/ 11 w 186"/>
                <a:gd name="T21" fmla="*/ 32 h 256"/>
                <a:gd name="T22" fmla="*/ 11 w 186"/>
                <a:gd name="T23" fmla="*/ 11 h 256"/>
                <a:gd name="T24" fmla="*/ 174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4" y="11"/>
                  </a:moveTo>
                  <a:lnTo>
                    <a:pt x="174" y="32"/>
                  </a:lnTo>
                  <a:lnTo>
                    <a:pt x="118" y="32"/>
                  </a:lnTo>
                  <a:lnTo>
                    <a:pt x="106" y="32"/>
                  </a:lnTo>
                  <a:lnTo>
                    <a:pt x="106" y="44"/>
                  </a:lnTo>
                  <a:lnTo>
                    <a:pt x="106" y="245"/>
                  </a:lnTo>
                  <a:lnTo>
                    <a:pt x="79" y="245"/>
                  </a:lnTo>
                  <a:lnTo>
                    <a:pt x="79" y="44"/>
                  </a:lnTo>
                  <a:lnTo>
                    <a:pt x="79" y="32"/>
                  </a:lnTo>
                  <a:lnTo>
                    <a:pt x="68" y="32"/>
                  </a:lnTo>
                  <a:lnTo>
                    <a:pt x="11" y="32"/>
                  </a:lnTo>
                  <a:lnTo>
                    <a:pt x="11" y="11"/>
                  </a:lnTo>
                  <a:lnTo>
                    <a:pt x="174"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9"/>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close/>
                  <a:moveTo>
                    <a:pt x="78" y="167"/>
                  </a:moveTo>
                  <a:lnTo>
                    <a:pt x="95" y="167"/>
                  </a:lnTo>
                  <a:lnTo>
                    <a:pt x="160" y="167"/>
                  </a:lnTo>
                  <a:lnTo>
                    <a:pt x="177" y="167"/>
                  </a:lnTo>
                  <a:lnTo>
                    <a:pt x="170" y="151"/>
                  </a:lnTo>
                  <a:lnTo>
                    <a:pt x="138" y="75"/>
                  </a:lnTo>
                  <a:lnTo>
                    <a:pt x="127" y="51"/>
                  </a:lnTo>
                  <a:lnTo>
                    <a:pt x="117" y="75"/>
                  </a:lnTo>
                  <a:lnTo>
                    <a:pt x="84" y="151"/>
                  </a:lnTo>
                  <a:lnTo>
                    <a:pt x="78" y="167"/>
                  </a:lnTo>
                  <a:close/>
                  <a:moveTo>
                    <a:pt x="145" y="0"/>
                  </a:moveTo>
                  <a:lnTo>
                    <a:pt x="110" y="0"/>
                  </a:lnTo>
                  <a:lnTo>
                    <a:pt x="0" y="256"/>
                  </a:lnTo>
                  <a:lnTo>
                    <a:pt x="52" y="256"/>
                  </a:lnTo>
                  <a:lnTo>
                    <a:pt x="76" y="199"/>
                  </a:lnTo>
                  <a:lnTo>
                    <a:pt x="179" y="199"/>
                  </a:lnTo>
                  <a:lnTo>
                    <a:pt x="203" y="256"/>
                  </a:lnTo>
                  <a:lnTo>
                    <a:pt x="255" y="256"/>
                  </a:lnTo>
                  <a:lnTo>
                    <a:pt x="145" y="0"/>
                  </a:lnTo>
                  <a:close/>
                  <a:moveTo>
                    <a:pt x="95" y="156"/>
                  </a:moveTo>
                  <a:lnTo>
                    <a:pt x="127" y="80"/>
                  </a:lnTo>
                  <a:lnTo>
                    <a:pt x="160" y="156"/>
                  </a:lnTo>
                  <a:lnTo>
                    <a:pt x="95"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5"/>
            <p:cNvSpPr>
              <a:spLocks noEditPoints="1"/>
            </p:cNvSpPr>
            <p:nvPr userDrawn="1"/>
          </p:nvSpPr>
          <p:spPr bwMode="auto">
            <a:xfrm>
              <a:off x="7410450" y="4200525"/>
              <a:ext cx="350838" cy="412750"/>
            </a:xfrm>
            <a:custGeom>
              <a:avLst/>
              <a:gdLst>
                <a:gd name="T0" fmla="*/ 2198 w 2316"/>
                <a:gd name="T1" fmla="*/ 117 h 2741"/>
                <a:gd name="T2" fmla="*/ 2198 w 2316"/>
                <a:gd name="T3" fmla="*/ 1563 h 2741"/>
                <a:gd name="T4" fmla="*/ 1890 w 2316"/>
                <a:gd name="T5" fmla="*/ 2375 h 2741"/>
                <a:gd name="T6" fmla="*/ 1158 w 2316"/>
                <a:gd name="T7" fmla="*/ 2624 h 2741"/>
                <a:gd name="T8" fmla="*/ 425 w 2316"/>
                <a:gd name="T9" fmla="*/ 2376 h 2741"/>
                <a:gd name="T10" fmla="*/ 117 w 2316"/>
                <a:gd name="T11" fmla="*/ 1563 h 2741"/>
                <a:gd name="T12" fmla="*/ 117 w 2316"/>
                <a:gd name="T13" fmla="*/ 117 h 2741"/>
                <a:gd name="T14" fmla="*/ 404 w 2316"/>
                <a:gd name="T15" fmla="*/ 117 h 2741"/>
                <a:gd name="T16" fmla="*/ 404 w 2316"/>
                <a:gd name="T17" fmla="*/ 1602 h 2741"/>
                <a:gd name="T18" fmla="*/ 618 w 2316"/>
                <a:gd name="T19" fmla="*/ 2189 h 2741"/>
                <a:gd name="T20" fmla="*/ 1158 w 2316"/>
                <a:gd name="T21" fmla="*/ 2395 h 2741"/>
                <a:gd name="T22" fmla="*/ 1698 w 2316"/>
                <a:gd name="T23" fmla="*/ 2189 h 2741"/>
                <a:gd name="T24" fmla="*/ 1912 w 2316"/>
                <a:gd name="T25" fmla="*/ 1602 h 2741"/>
                <a:gd name="T26" fmla="*/ 1912 w 2316"/>
                <a:gd name="T27" fmla="*/ 117 h 2741"/>
                <a:gd name="T28" fmla="*/ 2198 w 2316"/>
                <a:gd name="T29" fmla="*/ 117 h 2741"/>
                <a:gd name="T30" fmla="*/ 2316 w 2316"/>
                <a:gd name="T31" fmla="*/ 0 h 2741"/>
                <a:gd name="T32" fmla="*/ 1794 w 2316"/>
                <a:gd name="T33" fmla="*/ 0 h 2741"/>
                <a:gd name="T34" fmla="*/ 1794 w 2316"/>
                <a:gd name="T35" fmla="*/ 1602 h 2741"/>
                <a:gd name="T36" fmla="*/ 1617 w 2316"/>
                <a:gd name="T37" fmla="*/ 2104 h 2741"/>
                <a:gd name="T38" fmla="*/ 1158 w 2316"/>
                <a:gd name="T39" fmla="*/ 2277 h 2741"/>
                <a:gd name="T40" fmla="*/ 698 w 2316"/>
                <a:gd name="T41" fmla="*/ 2104 h 2741"/>
                <a:gd name="T42" fmla="*/ 521 w 2316"/>
                <a:gd name="T43" fmla="*/ 1602 h 2741"/>
                <a:gd name="T44" fmla="*/ 521 w 2316"/>
                <a:gd name="T45" fmla="*/ 0 h 2741"/>
                <a:gd name="T46" fmla="*/ 0 w 2316"/>
                <a:gd name="T47" fmla="*/ 0 h 2741"/>
                <a:gd name="T48" fmla="*/ 0 w 2316"/>
                <a:gd name="T49" fmla="*/ 1563 h 2741"/>
                <a:gd name="T50" fmla="*/ 347 w 2316"/>
                <a:gd name="T51" fmla="*/ 2463 h 2741"/>
                <a:gd name="T52" fmla="*/ 1158 w 2316"/>
                <a:gd name="T53" fmla="*/ 2741 h 2741"/>
                <a:gd name="T54" fmla="*/ 1968 w 2316"/>
                <a:gd name="T55" fmla="*/ 2463 h 2741"/>
                <a:gd name="T56" fmla="*/ 2316 w 2316"/>
                <a:gd name="T57" fmla="*/ 1563 h 2741"/>
                <a:gd name="T58" fmla="*/ 2316 w 2316"/>
                <a:gd name="T59" fmla="*/ 0 h 2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16" h="2741">
                  <a:moveTo>
                    <a:pt x="2198" y="117"/>
                  </a:moveTo>
                  <a:cubicBezTo>
                    <a:pt x="2198" y="1563"/>
                    <a:pt x="2198" y="1563"/>
                    <a:pt x="2198" y="1563"/>
                  </a:cubicBezTo>
                  <a:cubicBezTo>
                    <a:pt x="2198" y="1924"/>
                    <a:pt x="2098" y="2189"/>
                    <a:pt x="1890" y="2375"/>
                  </a:cubicBezTo>
                  <a:cubicBezTo>
                    <a:pt x="1713" y="2533"/>
                    <a:pt x="1446" y="2624"/>
                    <a:pt x="1158" y="2624"/>
                  </a:cubicBezTo>
                  <a:cubicBezTo>
                    <a:pt x="870" y="2624"/>
                    <a:pt x="602" y="2533"/>
                    <a:pt x="425" y="2376"/>
                  </a:cubicBezTo>
                  <a:cubicBezTo>
                    <a:pt x="218" y="2190"/>
                    <a:pt x="117" y="1924"/>
                    <a:pt x="117" y="1563"/>
                  </a:cubicBezTo>
                  <a:cubicBezTo>
                    <a:pt x="117" y="117"/>
                    <a:pt x="117" y="117"/>
                    <a:pt x="117" y="117"/>
                  </a:cubicBezTo>
                  <a:cubicBezTo>
                    <a:pt x="404" y="117"/>
                    <a:pt x="404" y="117"/>
                    <a:pt x="404" y="117"/>
                  </a:cubicBezTo>
                  <a:cubicBezTo>
                    <a:pt x="404" y="1602"/>
                    <a:pt x="404" y="1602"/>
                    <a:pt x="404" y="1602"/>
                  </a:cubicBezTo>
                  <a:cubicBezTo>
                    <a:pt x="404" y="1866"/>
                    <a:pt x="472" y="2052"/>
                    <a:pt x="618" y="2189"/>
                  </a:cubicBezTo>
                  <a:cubicBezTo>
                    <a:pt x="756" y="2321"/>
                    <a:pt x="947" y="2395"/>
                    <a:pt x="1158" y="2395"/>
                  </a:cubicBezTo>
                  <a:cubicBezTo>
                    <a:pt x="1368" y="2395"/>
                    <a:pt x="1560" y="2321"/>
                    <a:pt x="1698" y="2189"/>
                  </a:cubicBezTo>
                  <a:cubicBezTo>
                    <a:pt x="1844" y="2052"/>
                    <a:pt x="1912" y="1866"/>
                    <a:pt x="1912" y="1602"/>
                  </a:cubicBezTo>
                  <a:cubicBezTo>
                    <a:pt x="1912" y="117"/>
                    <a:pt x="1912" y="117"/>
                    <a:pt x="1912" y="117"/>
                  </a:cubicBezTo>
                  <a:cubicBezTo>
                    <a:pt x="2198" y="117"/>
                    <a:pt x="2198" y="117"/>
                    <a:pt x="2198" y="117"/>
                  </a:cubicBezTo>
                  <a:moveTo>
                    <a:pt x="2316" y="0"/>
                  </a:moveTo>
                  <a:cubicBezTo>
                    <a:pt x="1794" y="0"/>
                    <a:pt x="1794" y="0"/>
                    <a:pt x="1794" y="0"/>
                  </a:cubicBezTo>
                  <a:cubicBezTo>
                    <a:pt x="1794" y="1602"/>
                    <a:pt x="1794" y="1602"/>
                    <a:pt x="1794" y="1602"/>
                  </a:cubicBezTo>
                  <a:cubicBezTo>
                    <a:pt x="1794" y="1849"/>
                    <a:pt x="1729" y="2000"/>
                    <a:pt x="1617" y="2104"/>
                  </a:cubicBezTo>
                  <a:cubicBezTo>
                    <a:pt x="1501" y="2216"/>
                    <a:pt x="1339" y="2277"/>
                    <a:pt x="1158" y="2277"/>
                  </a:cubicBezTo>
                  <a:cubicBezTo>
                    <a:pt x="976" y="2277"/>
                    <a:pt x="814" y="2216"/>
                    <a:pt x="698" y="2104"/>
                  </a:cubicBezTo>
                  <a:cubicBezTo>
                    <a:pt x="586" y="2000"/>
                    <a:pt x="521" y="1849"/>
                    <a:pt x="521" y="1602"/>
                  </a:cubicBezTo>
                  <a:cubicBezTo>
                    <a:pt x="521" y="0"/>
                    <a:pt x="521" y="0"/>
                    <a:pt x="521" y="0"/>
                  </a:cubicBezTo>
                  <a:cubicBezTo>
                    <a:pt x="0" y="0"/>
                    <a:pt x="0" y="0"/>
                    <a:pt x="0" y="0"/>
                  </a:cubicBezTo>
                  <a:cubicBezTo>
                    <a:pt x="0" y="1563"/>
                    <a:pt x="0" y="1563"/>
                    <a:pt x="0" y="1563"/>
                  </a:cubicBezTo>
                  <a:cubicBezTo>
                    <a:pt x="0" y="1976"/>
                    <a:pt x="123" y="2262"/>
                    <a:pt x="347" y="2463"/>
                  </a:cubicBezTo>
                  <a:cubicBezTo>
                    <a:pt x="556" y="2648"/>
                    <a:pt x="853" y="2741"/>
                    <a:pt x="1158" y="2741"/>
                  </a:cubicBezTo>
                  <a:cubicBezTo>
                    <a:pt x="1463" y="2741"/>
                    <a:pt x="1760" y="2648"/>
                    <a:pt x="1968" y="2463"/>
                  </a:cubicBezTo>
                  <a:cubicBezTo>
                    <a:pt x="2192" y="2262"/>
                    <a:pt x="2316" y="1976"/>
                    <a:pt x="2316" y="1563"/>
                  </a:cubicBezTo>
                  <a:lnTo>
                    <a:pt x="23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noEditPoints="1"/>
            </p:cNvSpPr>
            <p:nvPr userDrawn="1"/>
          </p:nvSpPr>
          <p:spPr bwMode="auto">
            <a:xfrm>
              <a:off x="8145463" y="4194175"/>
              <a:ext cx="285750" cy="419100"/>
            </a:xfrm>
            <a:custGeom>
              <a:avLst/>
              <a:gdLst>
                <a:gd name="T0" fmla="*/ 1016 w 1892"/>
                <a:gd name="T1" fmla="*/ 117 h 2779"/>
                <a:gd name="T2" fmla="*/ 1635 w 1892"/>
                <a:gd name="T3" fmla="*/ 284 h 2779"/>
                <a:gd name="T4" fmla="*/ 1502 w 1892"/>
                <a:gd name="T5" fmla="*/ 474 h 2779"/>
                <a:gd name="T6" fmla="*/ 1062 w 1892"/>
                <a:gd name="T7" fmla="*/ 346 h 2779"/>
                <a:gd name="T8" fmla="*/ 528 w 1892"/>
                <a:gd name="T9" fmla="*/ 756 h 2779"/>
                <a:gd name="T10" fmla="*/ 1057 w 1892"/>
                <a:gd name="T11" fmla="*/ 1224 h 2779"/>
                <a:gd name="T12" fmla="*/ 1775 w 1892"/>
                <a:gd name="T13" fmla="*/ 1968 h 2779"/>
                <a:gd name="T14" fmla="*/ 977 w 1892"/>
                <a:gd name="T15" fmla="*/ 2662 h 2779"/>
                <a:gd name="T16" fmla="*/ 171 w 1892"/>
                <a:gd name="T17" fmla="*/ 2365 h 2779"/>
                <a:gd name="T18" fmla="*/ 343 w 1892"/>
                <a:gd name="T19" fmla="*/ 2185 h 2779"/>
                <a:gd name="T20" fmla="*/ 977 w 1892"/>
                <a:gd name="T21" fmla="*/ 2433 h 2779"/>
                <a:gd name="T22" fmla="*/ 1488 w 1892"/>
                <a:gd name="T23" fmla="*/ 1976 h 2779"/>
                <a:gd name="T24" fmla="*/ 906 w 1892"/>
                <a:gd name="T25" fmla="*/ 1427 h 2779"/>
                <a:gd name="T26" fmla="*/ 565 w 1892"/>
                <a:gd name="T27" fmla="*/ 1272 h 2779"/>
                <a:gd name="T28" fmla="*/ 241 w 1892"/>
                <a:gd name="T29" fmla="*/ 760 h 2779"/>
                <a:gd name="T30" fmla="*/ 1016 w 1892"/>
                <a:gd name="T31" fmla="*/ 117 h 2779"/>
                <a:gd name="T32" fmla="*/ 1016 w 1892"/>
                <a:gd name="T33" fmla="*/ 0 h 2779"/>
                <a:gd name="T34" fmla="*/ 124 w 1892"/>
                <a:gd name="T35" fmla="*/ 760 h 2779"/>
                <a:gd name="T36" fmla="*/ 506 w 1892"/>
                <a:gd name="T37" fmla="*/ 1374 h 2779"/>
                <a:gd name="T38" fmla="*/ 1371 w 1892"/>
                <a:gd name="T39" fmla="*/ 1976 h 2779"/>
                <a:gd name="T40" fmla="*/ 977 w 1892"/>
                <a:gd name="T41" fmla="*/ 2315 h 2779"/>
                <a:gd name="T42" fmla="*/ 340 w 1892"/>
                <a:gd name="T43" fmla="*/ 2018 h 2779"/>
                <a:gd name="T44" fmla="*/ 0 w 1892"/>
                <a:gd name="T45" fmla="*/ 2373 h 2779"/>
                <a:gd name="T46" fmla="*/ 977 w 1892"/>
                <a:gd name="T47" fmla="*/ 2779 h 2779"/>
                <a:gd name="T48" fmla="*/ 1892 w 1892"/>
                <a:gd name="T49" fmla="*/ 1968 h 2779"/>
                <a:gd name="T50" fmla="*/ 645 w 1892"/>
                <a:gd name="T51" fmla="*/ 756 h 2779"/>
                <a:gd name="T52" fmla="*/ 1062 w 1892"/>
                <a:gd name="T53" fmla="*/ 463 h 2779"/>
                <a:gd name="T54" fmla="*/ 1529 w 1892"/>
                <a:gd name="T55" fmla="*/ 640 h 2779"/>
                <a:gd name="T56" fmla="*/ 1799 w 1892"/>
                <a:gd name="T57" fmla="*/ 254 h 2779"/>
                <a:gd name="T58" fmla="*/ 1016 w 1892"/>
                <a:gd name="T59" fmla="*/ 0 h 2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92" h="2779">
                  <a:moveTo>
                    <a:pt x="1016" y="117"/>
                  </a:moveTo>
                  <a:cubicBezTo>
                    <a:pt x="1253" y="117"/>
                    <a:pt x="1449" y="169"/>
                    <a:pt x="1635" y="284"/>
                  </a:cubicBezTo>
                  <a:cubicBezTo>
                    <a:pt x="1502" y="474"/>
                    <a:pt x="1502" y="474"/>
                    <a:pt x="1502" y="474"/>
                  </a:cubicBezTo>
                  <a:cubicBezTo>
                    <a:pt x="1374" y="394"/>
                    <a:pt x="1212" y="346"/>
                    <a:pt x="1062" y="346"/>
                  </a:cubicBezTo>
                  <a:cubicBezTo>
                    <a:pt x="748" y="346"/>
                    <a:pt x="528" y="515"/>
                    <a:pt x="528" y="756"/>
                  </a:cubicBezTo>
                  <a:cubicBezTo>
                    <a:pt x="528" y="1014"/>
                    <a:pt x="785" y="1116"/>
                    <a:pt x="1057" y="1224"/>
                  </a:cubicBezTo>
                  <a:cubicBezTo>
                    <a:pt x="1410" y="1364"/>
                    <a:pt x="1775" y="1509"/>
                    <a:pt x="1775" y="1968"/>
                  </a:cubicBezTo>
                  <a:cubicBezTo>
                    <a:pt x="1775" y="2402"/>
                    <a:pt x="1369" y="2662"/>
                    <a:pt x="977" y="2662"/>
                  </a:cubicBezTo>
                  <a:cubicBezTo>
                    <a:pt x="693" y="2662"/>
                    <a:pt x="416" y="2559"/>
                    <a:pt x="171" y="2365"/>
                  </a:cubicBezTo>
                  <a:cubicBezTo>
                    <a:pt x="343" y="2185"/>
                    <a:pt x="343" y="2185"/>
                    <a:pt x="343" y="2185"/>
                  </a:cubicBezTo>
                  <a:cubicBezTo>
                    <a:pt x="524" y="2341"/>
                    <a:pt x="754" y="2433"/>
                    <a:pt x="977" y="2433"/>
                  </a:cubicBezTo>
                  <a:cubicBezTo>
                    <a:pt x="1273" y="2433"/>
                    <a:pt x="1488" y="2240"/>
                    <a:pt x="1488" y="1976"/>
                  </a:cubicBezTo>
                  <a:cubicBezTo>
                    <a:pt x="1488" y="1656"/>
                    <a:pt x="1192" y="1539"/>
                    <a:pt x="906" y="1427"/>
                  </a:cubicBezTo>
                  <a:cubicBezTo>
                    <a:pt x="790" y="1381"/>
                    <a:pt x="669" y="1334"/>
                    <a:pt x="565" y="1272"/>
                  </a:cubicBezTo>
                  <a:cubicBezTo>
                    <a:pt x="344" y="1144"/>
                    <a:pt x="241" y="981"/>
                    <a:pt x="241" y="760"/>
                  </a:cubicBezTo>
                  <a:cubicBezTo>
                    <a:pt x="241" y="342"/>
                    <a:pt x="640" y="117"/>
                    <a:pt x="1016" y="117"/>
                  </a:cubicBezTo>
                  <a:moveTo>
                    <a:pt x="1016" y="0"/>
                  </a:moveTo>
                  <a:cubicBezTo>
                    <a:pt x="568" y="0"/>
                    <a:pt x="124" y="278"/>
                    <a:pt x="124" y="760"/>
                  </a:cubicBezTo>
                  <a:cubicBezTo>
                    <a:pt x="124" y="1065"/>
                    <a:pt x="294" y="1250"/>
                    <a:pt x="506" y="1374"/>
                  </a:cubicBezTo>
                  <a:cubicBezTo>
                    <a:pt x="869" y="1586"/>
                    <a:pt x="1371" y="1628"/>
                    <a:pt x="1371" y="1976"/>
                  </a:cubicBezTo>
                  <a:cubicBezTo>
                    <a:pt x="1371" y="2173"/>
                    <a:pt x="1209" y="2315"/>
                    <a:pt x="977" y="2315"/>
                  </a:cubicBezTo>
                  <a:cubicBezTo>
                    <a:pt x="730" y="2315"/>
                    <a:pt x="494" y="2188"/>
                    <a:pt x="340" y="2018"/>
                  </a:cubicBezTo>
                  <a:cubicBezTo>
                    <a:pt x="0" y="2373"/>
                    <a:pt x="0" y="2373"/>
                    <a:pt x="0" y="2373"/>
                  </a:cubicBezTo>
                  <a:cubicBezTo>
                    <a:pt x="278" y="2628"/>
                    <a:pt x="614" y="2779"/>
                    <a:pt x="977" y="2779"/>
                  </a:cubicBezTo>
                  <a:cubicBezTo>
                    <a:pt x="1463" y="2779"/>
                    <a:pt x="1892" y="2447"/>
                    <a:pt x="1892" y="1968"/>
                  </a:cubicBezTo>
                  <a:cubicBezTo>
                    <a:pt x="1892" y="1057"/>
                    <a:pt x="645" y="1192"/>
                    <a:pt x="645" y="756"/>
                  </a:cubicBezTo>
                  <a:cubicBezTo>
                    <a:pt x="645" y="548"/>
                    <a:pt x="865" y="463"/>
                    <a:pt x="1062" y="463"/>
                  </a:cubicBezTo>
                  <a:cubicBezTo>
                    <a:pt x="1239" y="463"/>
                    <a:pt x="1421" y="540"/>
                    <a:pt x="1529" y="640"/>
                  </a:cubicBezTo>
                  <a:cubicBezTo>
                    <a:pt x="1799" y="254"/>
                    <a:pt x="1799" y="254"/>
                    <a:pt x="1799" y="254"/>
                  </a:cubicBezTo>
                  <a:cubicBezTo>
                    <a:pt x="1544" y="65"/>
                    <a:pt x="1290" y="0"/>
                    <a:pt x="10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8497888" y="4200525"/>
              <a:ext cx="407988" cy="406400"/>
            </a:xfrm>
            <a:custGeom>
              <a:avLst/>
              <a:gdLst>
                <a:gd name="T0" fmla="*/ 246 w 257"/>
                <a:gd name="T1" fmla="*/ 11 h 256"/>
                <a:gd name="T2" fmla="*/ 246 w 257"/>
                <a:gd name="T3" fmla="*/ 245 h 256"/>
                <a:gd name="T4" fmla="*/ 219 w 257"/>
                <a:gd name="T5" fmla="*/ 245 h 256"/>
                <a:gd name="T6" fmla="*/ 219 w 257"/>
                <a:gd name="T7" fmla="*/ 113 h 256"/>
                <a:gd name="T8" fmla="*/ 219 w 257"/>
                <a:gd name="T9" fmla="*/ 74 h 256"/>
                <a:gd name="T10" fmla="*/ 198 w 257"/>
                <a:gd name="T11" fmla="*/ 108 h 256"/>
                <a:gd name="T12" fmla="*/ 140 w 257"/>
                <a:gd name="T13" fmla="*/ 203 h 256"/>
                <a:gd name="T14" fmla="*/ 118 w 257"/>
                <a:gd name="T15" fmla="*/ 203 h 256"/>
                <a:gd name="T16" fmla="*/ 59 w 257"/>
                <a:gd name="T17" fmla="*/ 108 h 256"/>
                <a:gd name="T18" fmla="*/ 39 w 257"/>
                <a:gd name="T19" fmla="*/ 74 h 256"/>
                <a:gd name="T20" fmla="*/ 39 w 257"/>
                <a:gd name="T21" fmla="*/ 113 h 256"/>
                <a:gd name="T22" fmla="*/ 39 w 257"/>
                <a:gd name="T23" fmla="*/ 245 h 256"/>
                <a:gd name="T24" fmla="*/ 11 w 257"/>
                <a:gd name="T25" fmla="*/ 245 h 256"/>
                <a:gd name="T26" fmla="*/ 11 w 257"/>
                <a:gd name="T27" fmla="*/ 11 h 256"/>
                <a:gd name="T28" fmla="*/ 29 w 257"/>
                <a:gd name="T29" fmla="*/ 11 h 256"/>
                <a:gd name="T30" fmla="*/ 119 w 257"/>
                <a:gd name="T31" fmla="*/ 159 h 256"/>
                <a:gd name="T32" fmla="*/ 129 w 257"/>
                <a:gd name="T33" fmla="*/ 175 h 256"/>
                <a:gd name="T34" fmla="*/ 138 w 257"/>
                <a:gd name="T35" fmla="*/ 159 h 256"/>
                <a:gd name="T36" fmla="*/ 229 w 257"/>
                <a:gd name="T37" fmla="*/ 11 h 256"/>
                <a:gd name="T38" fmla="*/ 246 w 257"/>
                <a:gd name="T39" fmla="*/ 11 h 256"/>
                <a:gd name="T40" fmla="*/ 257 w 257"/>
                <a:gd name="T41" fmla="*/ 0 h 256"/>
                <a:gd name="T42" fmla="*/ 223 w 257"/>
                <a:gd name="T43" fmla="*/ 0 h 256"/>
                <a:gd name="T44" fmla="*/ 129 w 257"/>
                <a:gd name="T45" fmla="*/ 153 h 256"/>
                <a:gd name="T46" fmla="*/ 35 w 257"/>
                <a:gd name="T47" fmla="*/ 0 h 256"/>
                <a:gd name="T48" fmla="*/ 0 w 257"/>
                <a:gd name="T49" fmla="*/ 0 h 256"/>
                <a:gd name="T50" fmla="*/ 0 w 257"/>
                <a:gd name="T51" fmla="*/ 256 h 256"/>
                <a:gd name="T52" fmla="*/ 50 w 257"/>
                <a:gd name="T53" fmla="*/ 256 h 256"/>
                <a:gd name="T54" fmla="*/ 50 w 257"/>
                <a:gd name="T55" fmla="*/ 113 h 256"/>
                <a:gd name="T56" fmla="*/ 112 w 257"/>
                <a:gd name="T57" fmla="*/ 214 h 256"/>
                <a:gd name="T58" fmla="*/ 146 w 257"/>
                <a:gd name="T59" fmla="*/ 214 h 256"/>
                <a:gd name="T60" fmla="*/ 208 w 257"/>
                <a:gd name="T61" fmla="*/ 113 h 256"/>
                <a:gd name="T62" fmla="*/ 208 w 257"/>
                <a:gd name="T63" fmla="*/ 256 h 256"/>
                <a:gd name="T64" fmla="*/ 257 w 257"/>
                <a:gd name="T65" fmla="*/ 256 h 256"/>
                <a:gd name="T66" fmla="*/ 257 w 257"/>
                <a:gd name="T6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7" h="256">
                  <a:moveTo>
                    <a:pt x="246" y="11"/>
                  </a:moveTo>
                  <a:lnTo>
                    <a:pt x="246" y="245"/>
                  </a:lnTo>
                  <a:lnTo>
                    <a:pt x="219" y="245"/>
                  </a:lnTo>
                  <a:lnTo>
                    <a:pt x="219" y="113"/>
                  </a:lnTo>
                  <a:lnTo>
                    <a:pt x="219" y="74"/>
                  </a:lnTo>
                  <a:lnTo>
                    <a:pt x="198" y="108"/>
                  </a:lnTo>
                  <a:lnTo>
                    <a:pt x="140" y="203"/>
                  </a:lnTo>
                  <a:lnTo>
                    <a:pt x="118" y="203"/>
                  </a:lnTo>
                  <a:lnTo>
                    <a:pt x="59" y="108"/>
                  </a:lnTo>
                  <a:lnTo>
                    <a:pt x="39" y="74"/>
                  </a:lnTo>
                  <a:lnTo>
                    <a:pt x="39" y="113"/>
                  </a:lnTo>
                  <a:lnTo>
                    <a:pt x="39" y="245"/>
                  </a:lnTo>
                  <a:lnTo>
                    <a:pt x="11" y="245"/>
                  </a:lnTo>
                  <a:lnTo>
                    <a:pt x="11" y="11"/>
                  </a:lnTo>
                  <a:lnTo>
                    <a:pt x="29" y="11"/>
                  </a:lnTo>
                  <a:lnTo>
                    <a:pt x="119" y="159"/>
                  </a:lnTo>
                  <a:lnTo>
                    <a:pt x="129" y="175"/>
                  </a:lnTo>
                  <a:lnTo>
                    <a:pt x="138" y="159"/>
                  </a:lnTo>
                  <a:lnTo>
                    <a:pt x="229" y="11"/>
                  </a:lnTo>
                  <a:lnTo>
                    <a:pt x="246" y="11"/>
                  </a:lnTo>
                  <a:close/>
                  <a:moveTo>
                    <a:pt x="257" y="0"/>
                  </a:moveTo>
                  <a:lnTo>
                    <a:pt x="223" y="0"/>
                  </a:lnTo>
                  <a:lnTo>
                    <a:pt x="129" y="153"/>
                  </a:lnTo>
                  <a:lnTo>
                    <a:pt x="35" y="0"/>
                  </a:lnTo>
                  <a:lnTo>
                    <a:pt x="0" y="0"/>
                  </a:lnTo>
                  <a:lnTo>
                    <a:pt x="0" y="256"/>
                  </a:lnTo>
                  <a:lnTo>
                    <a:pt x="50" y="256"/>
                  </a:lnTo>
                  <a:lnTo>
                    <a:pt x="50" y="113"/>
                  </a:lnTo>
                  <a:lnTo>
                    <a:pt x="112" y="214"/>
                  </a:lnTo>
                  <a:lnTo>
                    <a:pt x="146" y="214"/>
                  </a:lnTo>
                  <a:lnTo>
                    <a:pt x="208" y="113"/>
                  </a:lnTo>
                  <a:lnTo>
                    <a:pt x="208" y="256"/>
                  </a:lnTo>
                  <a:lnTo>
                    <a:pt x="257" y="256"/>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0"/>
            <p:cNvSpPr>
              <a:spLocks noEditPoints="1"/>
            </p:cNvSpPr>
            <p:nvPr userDrawn="1"/>
          </p:nvSpPr>
          <p:spPr bwMode="auto">
            <a:xfrm>
              <a:off x="8953500" y="4200525"/>
              <a:ext cx="404813" cy="406400"/>
            </a:xfrm>
            <a:custGeom>
              <a:avLst/>
              <a:gdLst>
                <a:gd name="T0" fmla="*/ 138 w 255"/>
                <a:gd name="T1" fmla="*/ 11 h 256"/>
                <a:gd name="T2" fmla="*/ 238 w 255"/>
                <a:gd name="T3" fmla="*/ 245 h 256"/>
                <a:gd name="T4" fmla="*/ 211 w 255"/>
                <a:gd name="T5" fmla="*/ 245 h 256"/>
                <a:gd name="T6" fmla="*/ 189 w 255"/>
                <a:gd name="T7" fmla="*/ 195 h 256"/>
                <a:gd name="T8" fmla="*/ 187 w 255"/>
                <a:gd name="T9" fmla="*/ 188 h 256"/>
                <a:gd name="T10" fmla="*/ 179 w 255"/>
                <a:gd name="T11" fmla="*/ 188 h 256"/>
                <a:gd name="T12" fmla="*/ 76 w 255"/>
                <a:gd name="T13" fmla="*/ 188 h 256"/>
                <a:gd name="T14" fmla="*/ 69 w 255"/>
                <a:gd name="T15" fmla="*/ 188 h 256"/>
                <a:gd name="T16" fmla="*/ 66 w 255"/>
                <a:gd name="T17" fmla="*/ 195 h 256"/>
                <a:gd name="T18" fmla="*/ 44 w 255"/>
                <a:gd name="T19" fmla="*/ 245 h 256"/>
                <a:gd name="T20" fmla="*/ 17 w 255"/>
                <a:gd name="T21" fmla="*/ 245 h 256"/>
                <a:gd name="T22" fmla="*/ 117 w 255"/>
                <a:gd name="T23" fmla="*/ 11 h 256"/>
                <a:gd name="T24" fmla="*/ 138 w 255"/>
                <a:gd name="T25" fmla="*/ 11 h 256"/>
                <a:gd name="T26" fmla="*/ 78 w 255"/>
                <a:gd name="T27" fmla="*/ 167 h 256"/>
                <a:gd name="T28" fmla="*/ 95 w 255"/>
                <a:gd name="T29" fmla="*/ 167 h 256"/>
                <a:gd name="T30" fmla="*/ 160 w 255"/>
                <a:gd name="T31" fmla="*/ 167 h 256"/>
                <a:gd name="T32" fmla="*/ 177 w 255"/>
                <a:gd name="T33" fmla="*/ 167 h 256"/>
                <a:gd name="T34" fmla="*/ 170 w 255"/>
                <a:gd name="T35" fmla="*/ 151 h 256"/>
                <a:gd name="T36" fmla="*/ 138 w 255"/>
                <a:gd name="T37" fmla="*/ 75 h 256"/>
                <a:gd name="T38" fmla="*/ 127 w 255"/>
                <a:gd name="T39" fmla="*/ 51 h 256"/>
                <a:gd name="T40" fmla="*/ 117 w 255"/>
                <a:gd name="T41" fmla="*/ 75 h 256"/>
                <a:gd name="T42" fmla="*/ 84 w 255"/>
                <a:gd name="T43" fmla="*/ 151 h 256"/>
                <a:gd name="T44" fmla="*/ 78 w 255"/>
                <a:gd name="T45" fmla="*/ 167 h 256"/>
                <a:gd name="T46" fmla="*/ 145 w 255"/>
                <a:gd name="T47" fmla="*/ 0 h 256"/>
                <a:gd name="T48" fmla="*/ 110 w 255"/>
                <a:gd name="T49" fmla="*/ 0 h 256"/>
                <a:gd name="T50" fmla="*/ 0 w 255"/>
                <a:gd name="T51" fmla="*/ 256 h 256"/>
                <a:gd name="T52" fmla="*/ 52 w 255"/>
                <a:gd name="T53" fmla="*/ 256 h 256"/>
                <a:gd name="T54" fmla="*/ 76 w 255"/>
                <a:gd name="T55" fmla="*/ 199 h 256"/>
                <a:gd name="T56" fmla="*/ 179 w 255"/>
                <a:gd name="T57" fmla="*/ 199 h 256"/>
                <a:gd name="T58" fmla="*/ 203 w 255"/>
                <a:gd name="T59" fmla="*/ 256 h 256"/>
                <a:gd name="T60" fmla="*/ 255 w 255"/>
                <a:gd name="T61" fmla="*/ 256 h 256"/>
                <a:gd name="T62" fmla="*/ 145 w 255"/>
                <a:gd name="T63" fmla="*/ 0 h 256"/>
                <a:gd name="T64" fmla="*/ 95 w 255"/>
                <a:gd name="T65" fmla="*/ 156 h 256"/>
                <a:gd name="T66" fmla="*/ 127 w 255"/>
                <a:gd name="T67" fmla="*/ 80 h 256"/>
                <a:gd name="T68" fmla="*/ 160 w 255"/>
                <a:gd name="T69" fmla="*/ 156 h 256"/>
                <a:gd name="T70" fmla="*/ 95 w 255"/>
                <a:gd name="T71" fmla="*/ 1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 h="256">
                  <a:moveTo>
                    <a:pt x="138" y="11"/>
                  </a:moveTo>
                  <a:lnTo>
                    <a:pt x="238" y="245"/>
                  </a:lnTo>
                  <a:lnTo>
                    <a:pt x="211" y="245"/>
                  </a:lnTo>
                  <a:lnTo>
                    <a:pt x="189" y="195"/>
                  </a:lnTo>
                  <a:lnTo>
                    <a:pt x="187" y="188"/>
                  </a:lnTo>
                  <a:lnTo>
                    <a:pt x="179" y="188"/>
                  </a:lnTo>
                  <a:lnTo>
                    <a:pt x="76" y="188"/>
                  </a:lnTo>
                  <a:lnTo>
                    <a:pt x="69" y="188"/>
                  </a:lnTo>
                  <a:lnTo>
                    <a:pt x="66" y="195"/>
                  </a:lnTo>
                  <a:lnTo>
                    <a:pt x="44" y="245"/>
                  </a:lnTo>
                  <a:lnTo>
                    <a:pt x="17" y="245"/>
                  </a:lnTo>
                  <a:lnTo>
                    <a:pt x="117" y="11"/>
                  </a:lnTo>
                  <a:lnTo>
                    <a:pt x="138" y="11"/>
                  </a:lnTo>
                  <a:moveTo>
                    <a:pt x="78" y="167"/>
                  </a:moveTo>
                  <a:lnTo>
                    <a:pt x="95" y="167"/>
                  </a:lnTo>
                  <a:lnTo>
                    <a:pt x="160" y="167"/>
                  </a:lnTo>
                  <a:lnTo>
                    <a:pt x="177" y="167"/>
                  </a:lnTo>
                  <a:lnTo>
                    <a:pt x="170" y="151"/>
                  </a:lnTo>
                  <a:lnTo>
                    <a:pt x="138" y="75"/>
                  </a:lnTo>
                  <a:lnTo>
                    <a:pt x="127" y="51"/>
                  </a:lnTo>
                  <a:lnTo>
                    <a:pt x="117" y="75"/>
                  </a:lnTo>
                  <a:lnTo>
                    <a:pt x="84" y="151"/>
                  </a:lnTo>
                  <a:lnTo>
                    <a:pt x="78" y="167"/>
                  </a:lnTo>
                  <a:moveTo>
                    <a:pt x="145" y="0"/>
                  </a:moveTo>
                  <a:lnTo>
                    <a:pt x="110" y="0"/>
                  </a:lnTo>
                  <a:lnTo>
                    <a:pt x="0" y="256"/>
                  </a:lnTo>
                  <a:lnTo>
                    <a:pt x="52" y="256"/>
                  </a:lnTo>
                  <a:lnTo>
                    <a:pt x="76" y="199"/>
                  </a:lnTo>
                  <a:lnTo>
                    <a:pt x="179" y="199"/>
                  </a:lnTo>
                  <a:lnTo>
                    <a:pt x="203" y="256"/>
                  </a:lnTo>
                  <a:lnTo>
                    <a:pt x="255" y="256"/>
                  </a:lnTo>
                  <a:lnTo>
                    <a:pt x="145" y="0"/>
                  </a:lnTo>
                  <a:moveTo>
                    <a:pt x="95" y="156"/>
                  </a:moveTo>
                  <a:lnTo>
                    <a:pt x="127" y="80"/>
                  </a:lnTo>
                  <a:lnTo>
                    <a:pt x="160" y="156"/>
                  </a:lnTo>
                  <a:lnTo>
                    <a:pt x="95" y="1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1"/>
            <p:cNvSpPr>
              <a:spLocks noEditPoints="1"/>
            </p:cNvSpPr>
            <p:nvPr userDrawn="1"/>
          </p:nvSpPr>
          <p:spPr bwMode="auto">
            <a:xfrm>
              <a:off x="9763125" y="4200525"/>
              <a:ext cx="295275" cy="406400"/>
            </a:xfrm>
            <a:custGeom>
              <a:avLst/>
              <a:gdLst>
                <a:gd name="T0" fmla="*/ 175 w 186"/>
                <a:gd name="T1" fmla="*/ 11 h 256"/>
                <a:gd name="T2" fmla="*/ 175 w 186"/>
                <a:gd name="T3" fmla="*/ 32 h 256"/>
                <a:gd name="T4" fmla="*/ 118 w 186"/>
                <a:gd name="T5" fmla="*/ 32 h 256"/>
                <a:gd name="T6" fmla="*/ 107 w 186"/>
                <a:gd name="T7" fmla="*/ 32 h 256"/>
                <a:gd name="T8" fmla="*/ 107 w 186"/>
                <a:gd name="T9" fmla="*/ 44 h 256"/>
                <a:gd name="T10" fmla="*/ 107 w 186"/>
                <a:gd name="T11" fmla="*/ 245 h 256"/>
                <a:gd name="T12" fmla="*/ 80 w 186"/>
                <a:gd name="T13" fmla="*/ 245 h 256"/>
                <a:gd name="T14" fmla="*/ 80 w 186"/>
                <a:gd name="T15" fmla="*/ 44 h 256"/>
                <a:gd name="T16" fmla="*/ 80 w 186"/>
                <a:gd name="T17" fmla="*/ 32 h 256"/>
                <a:gd name="T18" fmla="*/ 68 w 186"/>
                <a:gd name="T19" fmla="*/ 32 h 256"/>
                <a:gd name="T20" fmla="*/ 12 w 186"/>
                <a:gd name="T21" fmla="*/ 32 h 256"/>
                <a:gd name="T22" fmla="*/ 12 w 186"/>
                <a:gd name="T23" fmla="*/ 11 h 256"/>
                <a:gd name="T24" fmla="*/ 175 w 186"/>
                <a:gd name="T25" fmla="*/ 11 h 256"/>
                <a:gd name="T26" fmla="*/ 186 w 186"/>
                <a:gd name="T27" fmla="*/ 0 h 256"/>
                <a:gd name="T28" fmla="*/ 0 w 186"/>
                <a:gd name="T29" fmla="*/ 0 h 256"/>
                <a:gd name="T30" fmla="*/ 0 w 186"/>
                <a:gd name="T31" fmla="*/ 44 h 256"/>
                <a:gd name="T32" fmla="*/ 68 w 186"/>
                <a:gd name="T33" fmla="*/ 44 h 256"/>
                <a:gd name="T34" fmla="*/ 68 w 186"/>
                <a:gd name="T35" fmla="*/ 256 h 256"/>
                <a:gd name="T36" fmla="*/ 118 w 186"/>
                <a:gd name="T37" fmla="*/ 256 h 256"/>
                <a:gd name="T38" fmla="*/ 118 w 186"/>
                <a:gd name="T39" fmla="*/ 44 h 256"/>
                <a:gd name="T40" fmla="*/ 186 w 186"/>
                <a:gd name="T41" fmla="*/ 44 h 256"/>
                <a:gd name="T42" fmla="*/ 186 w 186"/>
                <a:gd name="T43"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56">
                  <a:moveTo>
                    <a:pt x="175" y="11"/>
                  </a:moveTo>
                  <a:lnTo>
                    <a:pt x="175" y="32"/>
                  </a:lnTo>
                  <a:lnTo>
                    <a:pt x="118" y="32"/>
                  </a:lnTo>
                  <a:lnTo>
                    <a:pt x="107" y="32"/>
                  </a:lnTo>
                  <a:lnTo>
                    <a:pt x="107" y="44"/>
                  </a:lnTo>
                  <a:lnTo>
                    <a:pt x="107" y="245"/>
                  </a:lnTo>
                  <a:lnTo>
                    <a:pt x="80" y="245"/>
                  </a:lnTo>
                  <a:lnTo>
                    <a:pt x="80" y="44"/>
                  </a:lnTo>
                  <a:lnTo>
                    <a:pt x="80" y="32"/>
                  </a:lnTo>
                  <a:lnTo>
                    <a:pt x="68" y="32"/>
                  </a:lnTo>
                  <a:lnTo>
                    <a:pt x="12" y="32"/>
                  </a:lnTo>
                  <a:lnTo>
                    <a:pt x="12" y="11"/>
                  </a:lnTo>
                  <a:lnTo>
                    <a:pt x="175" y="11"/>
                  </a:lnTo>
                  <a:close/>
                  <a:moveTo>
                    <a:pt x="186" y="0"/>
                  </a:moveTo>
                  <a:lnTo>
                    <a:pt x="0" y="0"/>
                  </a:lnTo>
                  <a:lnTo>
                    <a:pt x="0" y="44"/>
                  </a:lnTo>
                  <a:lnTo>
                    <a:pt x="68" y="44"/>
                  </a:lnTo>
                  <a:lnTo>
                    <a:pt x="68" y="256"/>
                  </a:lnTo>
                  <a:lnTo>
                    <a:pt x="118" y="256"/>
                  </a:lnTo>
                  <a:lnTo>
                    <a:pt x="118" y="44"/>
                  </a:lnTo>
                  <a:lnTo>
                    <a:pt x="186" y="44"/>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2"/>
            <p:cNvSpPr>
              <a:spLocks noEditPoints="1"/>
            </p:cNvSpPr>
            <p:nvPr userDrawn="1"/>
          </p:nvSpPr>
          <p:spPr bwMode="auto">
            <a:xfrm>
              <a:off x="9407525" y="4198938"/>
              <a:ext cx="338138" cy="407988"/>
            </a:xfrm>
            <a:custGeom>
              <a:avLst/>
              <a:gdLst>
                <a:gd name="T0" fmla="*/ 1027 w 2239"/>
                <a:gd name="T1" fmla="*/ 113 h 2704"/>
                <a:gd name="T2" fmla="*/ 1731 w 2239"/>
                <a:gd name="T3" fmla="*/ 361 h 2704"/>
                <a:gd name="T4" fmla="*/ 1923 w 2239"/>
                <a:gd name="T5" fmla="*/ 849 h 2704"/>
                <a:gd name="T6" fmla="*/ 1923 w 2239"/>
                <a:gd name="T7" fmla="*/ 856 h 2704"/>
                <a:gd name="T8" fmla="*/ 1250 w 2239"/>
                <a:gd name="T9" fmla="*/ 1578 h 2704"/>
                <a:gd name="T10" fmla="*/ 2011 w 2239"/>
                <a:gd name="T11" fmla="*/ 2590 h 2704"/>
                <a:gd name="T12" fmla="*/ 1668 w 2239"/>
                <a:gd name="T13" fmla="*/ 2590 h 2704"/>
                <a:gd name="T14" fmla="*/ 949 w 2239"/>
                <a:gd name="T15" fmla="*/ 1628 h 2704"/>
                <a:gd name="T16" fmla="*/ 393 w 2239"/>
                <a:gd name="T17" fmla="*/ 1628 h 2704"/>
                <a:gd name="T18" fmla="*/ 393 w 2239"/>
                <a:gd name="T19" fmla="*/ 2590 h 2704"/>
                <a:gd name="T20" fmla="*/ 114 w 2239"/>
                <a:gd name="T21" fmla="*/ 2590 h 2704"/>
                <a:gd name="T22" fmla="*/ 114 w 2239"/>
                <a:gd name="T23" fmla="*/ 113 h 2704"/>
                <a:gd name="T24" fmla="*/ 1027 w 2239"/>
                <a:gd name="T25" fmla="*/ 113 h 2704"/>
                <a:gd name="T26" fmla="*/ 393 w 2239"/>
                <a:gd name="T27" fmla="*/ 1377 h 2704"/>
                <a:gd name="T28" fmla="*/ 1003 w 2239"/>
                <a:gd name="T29" fmla="*/ 1377 h 2704"/>
                <a:gd name="T30" fmla="*/ 1639 w 2239"/>
                <a:gd name="T31" fmla="*/ 867 h 2704"/>
                <a:gd name="T32" fmla="*/ 1639 w 2239"/>
                <a:gd name="T33" fmla="*/ 860 h 2704"/>
                <a:gd name="T34" fmla="*/ 1006 w 2239"/>
                <a:gd name="T35" fmla="*/ 372 h 2704"/>
                <a:gd name="T36" fmla="*/ 393 w 2239"/>
                <a:gd name="T37" fmla="*/ 372 h 2704"/>
                <a:gd name="T38" fmla="*/ 393 w 2239"/>
                <a:gd name="T39" fmla="*/ 1377 h 2704"/>
                <a:gd name="T40" fmla="*/ 1027 w 2239"/>
                <a:gd name="T41" fmla="*/ 0 h 2704"/>
                <a:gd name="T42" fmla="*/ 114 w 2239"/>
                <a:gd name="T43" fmla="*/ 0 h 2704"/>
                <a:gd name="T44" fmla="*/ 0 w 2239"/>
                <a:gd name="T45" fmla="*/ 0 h 2704"/>
                <a:gd name="T46" fmla="*/ 0 w 2239"/>
                <a:gd name="T47" fmla="*/ 113 h 2704"/>
                <a:gd name="T48" fmla="*/ 0 w 2239"/>
                <a:gd name="T49" fmla="*/ 2590 h 2704"/>
                <a:gd name="T50" fmla="*/ 0 w 2239"/>
                <a:gd name="T51" fmla="*/ 2704 h 2704"/>
                <a:gd name="T52" fmla="*/ 114 w 2239"/>
                <a:gd name="T53" fmla="*/ 2704 h 2704"/>
                <a:gd name="T54" fmla="*/ 393 w 2239"/>
                <a:gd name="T55" fmla="*/ 2704 h 2704"/>
                <a:gd name="T56" fmla="*/ 507 w 2239"/>
                <a:gd name="T57" fmla="*/ 2704 h 2704"/>
                <a:gd name="T58" fmla="*/ 507 w 2239"/>
                <a:gd name="T59" fmla="*/ 2590 h 2704"/>
                <a:gd name="T60" fmla="*/ 507 w 2239"/>
                <a:gd name="T61" fmla="*/ 1742 h 2704"/>
                <a:gd name="T62" fmla="*/ 892 w 2239"/>
                <a:gd name="T63" fmla="*/ 1742 h 2704"/>
                <a:gd name="T64" fmla="*/ 1577 w 2239"/>
                <a:gd name="T65" fmla="*/ 2658 h 2704"/>
                <a:gd name="T66" fmla="*/ 1611 w 2239"/>
                <a:gd name="T67" fmla="*/ 2704 h 2704"/>
                <a:gd name="T68" fmla="*/ 1668 w 2239"/>
                <a:gd name="T69" fmla="*/ 2704 h 2704"/>
                <a:gd name="T70" fmla="*/ 2011 w 2239"/>
                <a:gd name="T71" fmla="*/ 2704 h 2704"/>
                <a:gd name="T72" fmla="*/ 2239 w 2239"/>
                <a:gd name="T73" fmla="*/ 2704 h 2704"/>
                <a:gd name="T74" fmla="*/ 2102 w 2239"/>
                <a:gd name="T75" fmla="*/ 2522 h 2704"/>
                <a:gd name="T76" fmla="*/ 1443 w 2239"/>
                <a:gd name="T77" fmla="*/ 1646 h 2704"/>
                <a:gd name="T78" fmla="*/ 2036 w 2239"/>
                <a:gd name="T79" fmla="*/ 856 h 2704"/>
                <a:gd name="T80" fmla="*/ 2036 w 2239"/>
                <a:gd name="T81" fmla="*/ 849 h 2704"/>
                <a:gd name="T82" fmla="*/ 1812 w 2239"/>
                <a:gd name="T83" fmla="*/ 281 h 2704"/>
                <a:gd name="T84" fmla="*/ 1027 w 2239"/>
                <a:gd name="T85" fmla="*/ 0 h 2704"/>
                <a:gd name="T86" fmla="*/ 507 w 2239"/>
                <a:gd name="T87" fmla="*/ 485 h 2704"/>
                <a:gd name="T88" fmla="*/ 1006 w 2239"/>
                <a:gd name="T89" fmla="*/ 485 h 2704"/>
                <a:gd name="T90" fmla="*/ 1526 w 2239"/>
                <a:gd name="T91" fmla="*/ 860 h 2704"/>
                <a:gd name="T92" fmla="*/ 1526 w 2239"/>
                <a:gd name="T93" fmla="*/ 867 h 2704"/>
                <a:gd name="T94" fmla="*/ 1003 w 2239"/>
                <a:gd name="T95" fmla="*/ 1263 h 2704"/>
                <a:gd name="T96" fmla="*/ 507 w 2239"/>
                <a:gd name="T97" fmla="*/ 1263 h 2704"/>
                <a:gd name="T98" fmla="*/ 507 w 2239"/>
                <a:gd name="T99" fmla="*/ 485 h 2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9" h="2704">
                  <a:moveTo>
                    <a:pt x="1027" y="113"/>
                  </a:moveTo>
                  <a:cubicBezTo>
                    <a:pt x="1332" y="113"/>
                    <a:pt x="1576" y="205"/>
                    <a:pt x="1731" y="361"/>
                  </a:cubicBezTo>
                  <a:cubicBezTo>
                    <a:pt x="1852" y="481"/>
                    <a:pt x="1923" y="655"/>
                    <a:pt x="1923" y="849"/>
                  </a:cubicBezTo>
                  <a:cubicBezTo>
                    <a:pt x="1923" y="856"/>
                    <a:pt x="1923" y="856"/>
                    <a:pt x="1923" y="856"/>
                  </a:cubicBezTo>
                  <a:cubicBezTo>
                    <a:pt x="1923" y="1267"/>
                    <a:pt x="1639" y="1508"/>
                    <a:pt x="1250" y="1578"/>
                  </a:cubicBezTo>
                  <a:cubicBezTo>
                    <a:pt x="2011" y="2590"/>
                    <a:pt x="2011" y="2590"/>
                    <a:pt x="2011" y="2590"/>
                  </a:cubicBezTo>
                  <a:cubicBezTo>
                    <a:pt x="1668" y="2590"/>
                    <a:pt x="1668" y="2590"/>
                    <a:pt x="1668" y="2590"/>
                  </a:cubicBezTo>
                  <a:cubicBezTo>
                    <a:pt x="949" y="1628"/>
                    <a:pt x="949" y="1628"/>
                    <a:pt x="949" y="1628"/>
                  </a:cubicBezTo>
                  <a:cubicBezTo>
                    <a:pt x="393" y="1628"/>
                    <a:pt x="393" y="1628"/>
                    <a:pt x="393" y="1628"/>
                  </a:cubicBezTo>
                  <a:cubicBezTo>
                    <a:pt x="393" y="2590"/>
                    <a:pt x="393" y="2590"/>
                    <a:pt x="393" y="2590"/>
                  </a:cubicBezTo>
                  <a:cubicBezTo>
                    <a:pt x="114" y="2590"/>
                    <a:pt x="114" y="2590"/>
                    <a:pt x="114" y="2590"/>
                  </a:cubicBezTo>
                  <a:cubicBezTo>
                    <a:pt x="114" y="113"/>
                    <a:pt x="114" y="113"/>
                    <a:pt x="114" y="113"/>
                  </a:cubicBezTo>
                  <a:cubicBezTo>
                    <a:pt x="1027" y="113"/>
                    <a:pt x="1027" y="113"/>
                    <a:pt x="1027" y="113"/>
                  </a:cubicBezTo>
                  <a:moveTo>
                    <a:pt x="393" y="1377"/>
                  </a:moveTo>
                  <a:cubicBezTo>
                    <a:pt x="1003" y="1377"/>
                    <a:pt x="1003" y="1377"/>
                    <a:pt x="1003" y="1377"/>
                  </a:cubicBezTo>
                  <a:cubicBezTo>
                    <a:pt x="1374" y="1377"/>
                    <a:pt x="1639" y="1186"/>
                    <a:pt x="1639" y="867"/>
                  </a:cubicBezTo>
                  <a:cubicBezTo>
                    <a:pt x="1639" y="860"/>
                    <a:pt x="1639" y="860"/>
                    <a:pt x="1639" y="860"/>
                  </a:cubicBezTo>
                  <a:cubicBezTo>
                    <a:pt x="1639" y="556"/>
                    <a:pt x="1406" y="372"/>
                    <a:pt x="1006" y="372"/>
                  </a:cubicBezTo>
                  <a:cubicBezTo>
                    <a:pt x="393" y="372"/>
                    <a:pt x="393" y="372"/>
                    <a:pt x="393" y="372"/>
                  </a:cubicBezTo>
                  <a:cubicBezTo>
                    <a:pt x="393" y="1377"/>
                    <a:pt x="393" y="1377"/>
                    <a:pt x="393" y="1377"/>
                  </a:cubicBezTo>
                  <a:moveTo>
                    <a:pt x="1027" y="0"/>
                  </a:moveTo>
                  <a:cubicBezTo>
                    <a:pt x="114" y="0"/>
                    <a:pt x="114" y="0"/>
                    <a:pt x="114" y="0"/>
                  </a:cubicBezTo>
                  <a:cubicBezTo>
                    <a:pt x="0" y="0"/>
                    <a:pt x="0" y="0"/>
                    <a:pt x="0" y="0"/>
                  </a:cubicBezTo>
                  <a:cubicBezTo>
                    <a:pt x="0" y="113"/>
                    <a:pt x="0" y="113"/>
                    <a:pt x="0" y="113"/>
                  </a:cubicBezTo>
                  <a:cubicBezTo>
                    <a:pt x="0" y="2590"/>
                    <a:pt x="0" y="2590"/>
                    <a:pt x="0" y="2590"/>
                  </a:cubicBezTo>
                  <a:cubicBezTo>
                    <a:pt x="0" y="2704"/>
                    <a:pt x="0" y="2704"/>
                    <a:pt x="0" y="2704"/>
                  </a:cubicBezTo>
                  <a:cubicBezTo>
                    <a:pt x="114" y="2704"/>
                    <a:pt x="114" y="2704"/>
                    <a:pt x="114" y="2704"/>
                  </a:cubicBezTo>
                  <a:cubicBezTo>
                    <a:pt x="393" y="2704"/>
                    <a:pt x="393" y="2704"/>
                    <a:pt x="393" y="2704"/>
                  </a:cubicBezTo>
                  <a:cubicBezTo>
                    <a:pt x="507" y="2704"/>
                    <a:pt x="507" y="2704"/>
                    <a:pt x="507" y="2704"/>
                  </a:cubicBezTo>
                  <a:cubicBezTo>
                    <a:pt x="507" y="2590"/>
                    <a:pt x="507" y="2590"/>
                    <a:pt x="507" y="2590"/>
                  </a:cubicBezTo>
                  <a:cubicBezTo>
                    <a:pt x="507" y="1742"/>
                    <a:pt x="507" y="1742"/>
                    <a:pt x="507" y="1742"/>
                  </a:cubicBezTo>
                  <a:cubicBezTo>
                    <a:pt x="892" y="1742"/>
                    <a:pt x="892" y="1742"/>
                    <a:pt x="892" y="1742"/>
                  </a:cubicBezTo>
                  <a:cubicBezTo>
                    <a:pt x="1577" y="2658"/>
                    <a:pt x="1577" y="2658"/>
                    <a:pt x="1577" y="2658"/>
                  </a:cubicBezTo>
                  <a:cubicBezTo>
                    <a:pt x="1611" y="2704"/>
                    <a:pt x="1611" y="2704"/>
                    <a:pt x="1611" y="2704"/>
                  </a:cubicBezTo>
                  <a:cubicBezTo>
                    <a:pt x="1668" y="2704"/>
                    <a:pt x="1668" y="2704"/>
                    <a:pt x="1668" y="2704"/>
                  </a:cubicBezTo>
                  <a:cubicBezTo>
                    <a:pt x="2011" y="2704"/>
                    <a:pt x="2011" y="2704"/>
                    <a:pt x="2011" y="2704"/>
                  </a:cubicBezTo>
                  <a:cubicBezTo>
                    <a:pt x="2239" y="2704"/>
                    <a:pt x="2239" y="2704"/>
                    <a:pt x="2239" y="2704"/>
                  </a:cubicBezTo>
                  <a:cubicBezTo>
                    <a:pt x="2102" y="2522"/>
                    <a:pt x="2102" y="2522"/>
                    <a:pt x="2102" y="2522"/>
                  </a:cubicBezTo>
                  <a:cubicBezTo>
                    <a:pt x="1443" y="1646"/>
                    <a:pt x="1443" y="1646"/>
                    <a:pt x="1443" y="1646"/>
                  </a:cubicBezTo>
                  <a:cubicBezTo>
                    <a:pt x="1818" y="1522"/>
                    <a:pt x="2036" y="1236"/>
                    <a:pt x="2036" y="856"/>
                  </a:cubicBezTo>
                  <a:cubicBezTo>
                    <a:pt x="2036" y="849"/>
                    <a:pt x="2036" y="849"/>
                    <a:pt x="2036" y="849"/>
                  </a:cubicBezTo>
                  <a:cubicBezTo>
                    <a:pt x="2036" y="627"/>
                    <a:pt x="1956" y="426"/>
                    <a:pt x="1812" y="281"/>
                  </a:cubicBezTo>
                  <a:cubicBezTo>
                    <a:pt x="1631" y="100"/>
                    <a:pt x="1352" y="0"/>
                    <a:pt x="1027" y="0"/>
                  </a:cubicBezTo>
                  <a:moveTo>
                    <a:pt x="507" y="485"/>
                  </a:moveTo>
                  <a:cubicBezTo>
                    <a:pt x="1006" y="485"/>
                    <a:pt x="1006" y="485"/>
                    <a:pt x="1006" y="485"/>
                  </a:cubicBezTo>
                  <a:cubicBezTo>
                    <a:pt x="1458" y="485"/>
                    <a:pt x="1526" y="720"/>
                    <a:pt x="1526" y="860"/>
                  </a:cubicBezTo>
                  <a:cubicBezTo>
                    <a:pt x="1526" y="867"/>
                    <a:pt x="1526" y="867"/>
                    <a:pt x="1526" y="867"/>
                  </a:cubicBezTo>
                  <a:cubicBezTo>
                    <a:pt x="1526" y="1059"/>
                    <a:pt x="1388" y="1263"/>
                    <a:pt x="1003" y="1263"/>
                  </a:cubicBezTo>
                  <a:cubicBezTo>
                    <a:pt x="507" y="1263"/>
                    <a:pt x="507" y="1263"/>
                    <a:pt x="507" y="1263"/>
                  </a:cubicBezTo>
                  <a:lnTo>
                    <a:pt x="507" y="4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3"/>
            <p:cNvSpPr>
              <a:spLocks noEditPoints="1"/>
            </p:cNvSpPr>
            <p:nvPr userDrawn="1"/>
          </p:nvSpPr>
          <p:spPr bwMode="auto">
            <a:xfrm>
              <a:off x="6905625" y="4194175"/>
              <a:ext cx="450850" cy="419100"/>
            </a:xfrm>
            <a:custGeom>
              <a:avLst/>
              <a:gdLst>
                <a:gd name="T0" fmla="*/ 2979 w 2979"/>
                <a:gd name="T1" fmla="*/ 1386 h 2771"/>
                <a:gd name="T2" fmla="*/ 1619 w 2979"/>
                <a:gd name="T3" fmla="*/ 2 h 2771"/>
                <a:gd name="T4" fmla="*/ 1562 w 2979"/>
                <a:gd name="T5" fmla="*/ 2 h 2771"/>
                <a:gd name="T6" fmla="*/ 1279 w 2979"/>
                <a:gd name="T7" fmla="*/ 6 h 2771"/>
                <a:gd name="T8" fmla="*/ 0 w 2979"/>
                <a:gd name="T9" fmla="*/ 1386 h 2771"/>
                <a:gd name="T10" fmla="*/ 1375 w 2979"/>
                <a:gd name="T11" fmla="*/ 2770 h 2771"/>
                <a:gd name="T12" fmla="*/ 1429 w 2979"/>
                <a:gd name="T13" fmla="*/ 2770 h 2771"/>
                <a:gd name="T14" fmla="*/ 1516 w 2979"/>
                <a:gd name="T15" fmla="*/ 2771 h 2771"/>
                <a:gd name="T16" fmla="*/ 1639 w 2979"/>
                <a:gd name="T17" fmla="*/ 2766 h 2771"/>
                <a:gd name="T18" fmla="*/ 2979 w 2979"/>
                <a:gd name="T19" fmla="*/ 1386 h 2771"/>
                <a:gd name="T20" fmla="*/ 106 w 2979"/>
                <a:gd name="T21" fmla="*/ 1386 h 2771"/>
                <a:gd name="T22" fmla="*/ 1343 w 2979"/>
                <a:gd name="T23" fmla="*/ 111 h 2771"/>
                <a:gd name="T24" fmla="*/ 2506 w 2979"/>
                <a:gd name="T25" fmla="*/ 1386 h 2771"/>
                <a:gd name="T26" fmla="*/ 2504 w 2979"/>
                <a:gd name="T27" fmla="*/ 1386 h 2771"/>
                <a:gd name="T28" fmla="*/ 1768 w 2979"/>
                <a:gd name="T29" fmla="*/ 2300 h 2771"/>
                <a:gd name="T30" fmla="*/ 2244 w 2979"/>
                <a:gd name="T31" fmla="*/ 1362 h 2771"/>
                <a:gd name="T32" fmla="*/ 1981 w 2979"/>
                <a:gd name="T33" fmla="*/ 609 h 2771"/>
                <a:gd name="T34" fmla="*/ 1343 w 2979"/>
                <a:gd name="T35" fmla="*/ 355 h 2771"/>
                <a:gd name="T36" fmla="*/ 579 w 2979"/>
                <a:gd name="T37" fmla="*/ 724 h 2771"/>
                <a:gd name="T38" fmla="*/ 341 w 2979"/>
                <a:gd name="T39" fmla="*/ 1388 h 2771"/>
                <a:gd name="T40" fmla="*/ 1011 w 2979"/>
                <a:gd name="T41" fmla="*/ 2612 h 2771"/>
                <a:gd name="T42" fmla="*/ 106 w 2979"/>
                <a:gd name="T43" fmla="*/ 1386 h 2771"/>
                <a:gd name="T44" fmla="*/ 1453 w 2979"/>
                <a:gd name="T45" fmla="*/ 468 h 2771"/>
                <a:gd name="T46" fmla="*/ 1904 w 2979"/>
                <a:gd name="T47" fmla="*/ 683 h 2771"/>
                <a:gd name="T48" fmla="*/ 2138 w 2979"/>
                <a:gd name="T49" fmla="*/ 1359 h 2771"/>
                <a:gd name="T50" fmla="*/ 1500 w 2979"/>
                <a:gd name="T51" fmla="*/ 2299 h 2771"/>
                <a:gd name="T52" fmla="*/ 817 w 2979"/>
                <a:gd name="T53" fmla="*/ 1386 h 2771"/>
                <a:gd name="T54" fmla="*/ 1453 w 2979"/>
                <a:gd name="T55" fmla="*/ 468 h 2771"/>
                <a:gd name="T56" fmla="*/ 1636 w 2979"/>
                <a:gd name="T57" fmla="*/ 2660 h 2771"/>
                <a:gd name="T58" fmla="*/ 448 w 2979"/>
                <a:gd name="T59" fmla="*/ 1388 h 2771"/>
                <a:gd name="T60" fmla="*/ 662 w 2979"/>
                <a:gd name="T61" fmla="*/ 790 h 2771"/>
                <a:gd name="T62" fmla="*/ 1138 w 2979"/>
                <a:gd name="T63" fmla="*/ 484 h 2771"/>
                <a:gd name="T64" fmla="*/ 710 w 2979"/>
                <a:gd name="T65" fmla="*/ 1386 h 2771"/>
                <a:gd name="T66" fmla="*/ 1636 w 2979"/>
                <a:gd name="T67" fmla="*/ 2416 h 2771"/>
                <a:gd name="T68" fmla="*/ 2611 w 2979"/>
                <a:gd name="T69" fmla="*/ 1386 h 2771"/>
                <a:gd name="T70" fmla="*/ 2613 w 2979"/>
                <a:gd name="T71" fmla="*/ 1386 h 2771"/>
                <a:gd name="T72" fmla="*/ 1933 w 2979"/>
                <a:gd name="T73" fmla="*/ 147 h 2771"/>
                <a:gd name="T74" fmla="*/ 2873 w 2979"/>
                <a:gd name="T75" fmla="*/ 1386 h 2771"/>
                <a:gd name="T76" fmla="*/ 1636 w 2979"/>
                <a:gd name="T77" fmla="*/ 2660 h 2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79" h="2771">
                  <a:moveTo>
                    <a:pt x="2979" y="1386"/>
                  </a:moveTo>
                  <a:cubicBezTo>
                    <a:pt x="2979" y="610"/>
                    <a:pt x="2382" y="2"/>
                    <a:pt x="1619" y="2"/>
                  </a:cubicBezTo>
                  <a:cubicBezTo>
                    <a:pt x="1606" y="3"/>
                    <a:pt x="1586" y="2"/>
                    <a:pt x="1562" y="2"/>
                  </a:cubicBezTo>
                  <a:cubicBezTo>
                    <a:pt x="1446" y="1"/>
                    <a:pt x="1328" y="0"/>
                    <a:pt x="1279" y="6"/>
                  </a:cubicBezTo>
                  <a:cubicBezTo>
                    <a:pt x="545" y="38"/>
                    <a:pt x="0" y="620"/>
                    <a:pt x="0" y="1386"/>
                  </a:cubicBezTo>
                  <a:cubicBezTo>
                    <a:pt x="0" y="2162"/>
                    <a:pt x="604" y="2770"/>
                    <a:pt x="1375" y="2770"/>
                  </a:cubicBezTo>
                  <a:cubicBezTo>
                    <a:pt x="1390" y="2770"/>
                    <a:pt x="1408" y="2770"/>
                    <a:pt x="1429" y="2770"/>
                  </a:cubicBezTo>
                  <a:cubicBezTo>
                    <a:pt x="1456" y="2771"/>
                    <a:pt x="1486" y="2771"/>
                    <a:pt x="1516" y="2771"/>
                  </a:cubicBezTo>
                  <a:cubicBezTo>
                    <a:pt x="1563" y="2771"/>
                    <a:pt x="1608" y="2770"/>
                    <a:pt x="1639" y="2766"/>
                  </a:cubicBezTo>
                  <a:cubicBezTo>
                    <a:pt x="2403" y="2765"/>
                    <a:pt x="2979" y="2172"/>
                    <a:pt x="2979" y="1386"/>
                  </a:cubicBezTo>
                  <a:moveTo>
                    <a:pt x="106" y="1386"/>
                  </a:moveTo>
                  <a:cubicBezTo>
                    <a:pt x="106" y="659"/>
                    <a:pt x="638" y="111"/>
                    <a:pt x="1343" y="111"/>
                  </a:cubicBezTo>
                  <a:cubicBezTo>
                    <a:pt x="2028" y="111"/>
                    <a:pt x="2506" y="635"/>
                    <a:pt x="2506" y="1386"/>
                  </a:cubicBezTo>
                  <a:cubicBezTo>
                    <a:pt x="2504" y="1386"/>
                    <a:pt x="2504" y="1386"/>
                    <a:pt x="2504" y="1386"/>
                  </a:cubicBezTo>
                  <a:cubicBezTo>
                    <a:pt x="2504" y="1864"/>
                    <a:pt x="2196" y="2236"/>
                    <a:pt x="1768" y="2300"/>
                  </a:cubicBezTo>
                  <a:cubicBezTo>
                    <a:pt x="2022" y="2137"/>
                    <a:pt x="2232" y="1810"/>
                    <a:pt x="2244" y="1362"/>
                  </a:cubicBezTo>
                  <a:cubicBezTo>
                    <a:pt x="2252" y="1059"/>
                    <a:pt x="2158" y="791"/>
                    <a:pt x="1981" y="609"/>
                  </a:cubicBezTo>
                  <a:cubicBezTo>
                    <a:pt x="1819" y="443"/>
                    <a:pt x="1598" y="355"/>
                    <a:pt x="1343" y="355"/>
                  </a:cubicBezTo>
                  <a:cubicBezTo>
                    <a:pt x="1034" y="355"/>
                    <a:pt x="769" y="483"/>
                    <a:pt x="579" y="724"/>
                  </a:cubicBezTo>
                  <a:cubicBezTo>
                    <a:pt x="432" y="909"/>
                    <a:pt x="341" y="1164"/>
                    <a:pt x="341" y="1388"/>
                  </a:cubicBezTo>
                  <a:cubicBezTo>
                    <a:pt x="341" y="1941"/>
                    <a:pt x="602" y="2388"/>
                    <a:pt x="1011" y="2612"/>
                  </a:cubicBezTo>
                  <a:cubicBezTo>
                    <a:pt x="482" y="2458"/>
                    <a:pt x="106" y="1974"/>
                    <a:pt x="106" y="1386"/>
                  </a:cubicBezTo>
                  <a:moveTo>
                    <a:pt x="1453" y="468"/>
                  </a:moveTo>
                  <a:cubicBezTo>
                    <a:pt x="1632" y="489"/>
                    <a:pt x="1787" y="562"/>
                    <a:pt x="1904" y="683"/>
                  </a:cubicBezTo>
                  <a:cubicBezTo>
                    <a:pt x="2062" y="845"/>
                    <a:pt x="2145" y="1085"/>
                    <a:pt x="2138" y="1359"/>
                  </a:cubicBezTo>
                  <a:cubicBezTo>
                    <a:pt x="2127" y="1754"/>
                    <a:pt x="1901" y="2215"/>
                    <a:pt x="1500" y="2299"/>
                  </a:cubicBezTo>
                  <a:cubicBezTo>
                    <a:pt x="1091" y="2234"/>
                    <a:pt x="817" y="1877"/>
                    <a:pt x="817" y="1386"/>
                  </a:cubicBezTo>
                  <a:cubicBezTo>
                    <a:pt x="817" y="907"/>
                    <a:pt x="1066" y="548"/>
                    <a:pt x="1453" y="468"/>
                  </a:cubicBezTo>
                  <a:moveTo>
                    <a:pt x="1636" y="2660"/>
                  </a:moveTo>
                  <a:cubicBezTo>
                    <a:pt x="947" y="2660"/>
                    <a:pt x="448" y="2125"/>
                    <a:pt x="448" y="1388"/>
                  </a:cubicBezTo>
                  <a:cubicBezTo>
                    <a:pt x="448" y="1186"/>
                    <a:pt x="530" y="957"/>
                    <a:pt x="662" y="790"/>
                  </a:cubicBezTo>
                  <a:cubicBezTo>
                    <a:pt x="788" y="631"/>
                    <a:pt x="950" y="527"/>
                    <a:pt x="1138" y="484"/>
                  </a:cubicBezTo>
                  <a:cubicBezTo>
                    <a:pt x="871" y="659"/>
                    <a:pt x="710" y="985"/>
                    <a:pt x="710" y="1386"/>
                  </a:cubicBezTo>
                  <a:cubicBezTo>
                    <a:pt x="710" y="1992"/>
                    <a:pt x="1091" y="2416"/>
                    <a:pt x="1636" y="2416"/>
                  </a:cubicBezTo>
                  <a:cubicBezTo>
                    <a:pt x="2191" y="2416"/>
                    <a:pt x="2611" y="1973"/>
                    <a:pt x="2611" y="1386"/>
                  </a:cubicBezTo>
                  <a:cubicBezTo>
                    <a:pt x="2613" y="1386"/>
                    <a:pt x="2613" y="1386"/>
                    <a:pt x="2613" y="1386"/>
                  </a:cubicBezTo>
                  <a:cubicBezTo>
                    <a:pt x="2613" y="821"/>
                    <a:pt x="2347" y="367"/>
                    <a:pt x="1933" y="147"/>
                  </a:cubicBezTo>
                  <a:cubicBezTo>
                    <a:pt x="2479" y="286"/>
                    <a:pt x="2873" y="780"/>
                    <a:pt x="2873" y="1386"/>
                  </a:cubicBezTo>
                  <a:cubicBezTo>
                    <a:pt x="2873" y="2112"/>
                    <a:pt x="2341" y="2660"/>
                    <a:pt x="1636" y="26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9" name="Title 1"/>
          <p:cNvSpPr>
            <a:spLocks noGrp="1"/>
          </p:cNvSpPr>
          <p:nvPr>
            <p:ph type="ctrTitle" hasCustomPrompt="1"/>
          </p:nvPr>
        </p:nvSpPr>
        <p:spPr>
          <a:xfrm>
            <a:off x="430690" y="463552"/>
            <a:ext cx="5666898" cy="1298574"/>
          </a:xfrm>
        </p:spPr>
        <p:txBody>
          <a:bodyPr anchor="b" anchorCtr="0">
            <a:normAutofit/>
          </a:bodyPr>
          <a:lstStyle>
            <a:lvl1pPr>
              <a:lnSpc>
                <a:spcPct val="90000"/>
              </a:lnSpc>
              <a:defRPr sz="1800">
                <a:solidFill>
                  <a:schemeClr val="bg1"/>
                </a:solidFill>
              </a:defRPr>
            </a:lvl1pPr>
          </a:lstStyle>
          <a:p>
            <a:r>
              <a:rPr lang="en-US" dirty="0"/>
              <a:t>Master title style</a:t>
            </a:r>
            <a:endParaRPr lang="en-GB" dirty="0"/>
          </a:p>
        </p:txBody>
      </p:sp>
      <p:sp>
        <p:nvSpPr>
          <p:cNvPr id="20" name="Subtitle 2"/>
          <p:cNvSpPr>
            <a:spLocks noGrp="1"/>
          </p:cNvSpPr>
          <p:nvPr>
            <p:ph type="subTitle" idx="1" hasCustomPrompt="1"/>
          </p:nvPr>
        </p:nvSpPr>
        <p:spPr>
          <a:xfrm>
            <a:off x="430690" y="1828801"/>
            <a:ext cx="5667628" cy="1152524"/>
          </a:xfrm>
        </p:spPr>
        <p:txBody>
          <a:bodyPr>
            <a:normAutofit/>
          </a:bodyPr>
          <a:lstStyle>
            <a:lvl1pPr marL="0" indent="0" algn="l">
              <a:lnSpc>
                <a:spcPct val="90000"/>
              </a:lnSpc>
              <a:spcBef>
                <a:spcPts val="600"/>
              </a:spcBef>
              <a:buNone/>
              <a:defRPr sz="18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Master subtitle style</a:t>
            </a:r>
            <a:endParaRPr lang="en-GB" dirty="0"/>
          </a:p>
        </p:txBody>
      </p:sp>
      <p:sp>
        <p:nvSpPr>
          <p:cNvPr id="21" name="Text Placeholder 21"/>
          <p:cNvSpPr>
            <a:spLocks noGrp="1"/>
          </p:cNvSpPr>
          <p:nvPr>
            <p:ph type="body" sz="quarter" idx="13" hasCustomPrompt="1"/>
          </p:nvPr>
        </p:nvSpPr>
        <p:spPr>
          <a:xfrm>
            <a:off x="438150" y="3086100"/>
            <a:ext cx="5667375" cy="838200"/>
          </a:xfrm>
        </p:spPr>
        <p:txBody>
          <a:bodyPr>
            <a:noAutofit/>
          </a:bodyPr>
          <a:lstStyle>
            <a:lvl1pPr marL="0" indent="0">
              <a:buFont typeface="Arial" panose="020B0604020202020204" pitchFamily="34" charset="0"/>
              <a:buNone/>
              <a:defRPr sz="1800" b="0">
                <a:solidFill>
                  <a:schemeClr val="bg1"/>
                </a:solidFill>
                <a:latin typeface="+mj-lt"/>
              </a:defRPr>
            </a:lvl1pPr>
            <a:lvl2pPr marL="0" indent="0">
              <a:buFont typeface="Arial" panose="020B0604020202020204" pitchFamily="34" charset="0"/>
              <a:buNone/>
              <a:defRPr sz="1400" b="0">
                <a:solidFill>
                  <a:schemeClr val="bg1"/>
                </a:solidFill>
                <a:latin typeface="+mn-lt"/>
              </a:defRPr>
            </a:lvl2pPr>
            <a:lvl3pPr marL="0" indent="0">
              <a:buNone/>
              <a:defRPr sz="1400" b="0">
                <a:solidFill>
                  <a:schemeClr val="bg1"/>
                </a:solidFill>
                <a:latin typeface="+mn-lt"/>
              </a:defRPr>
            </a:lvl3pPr>
            <a:lvl4pPr marL="0" indent="0">
              <a:buNone/>
              <a:defRPr sz="1400" b="0">
                <a:solidFill>
                  <a:schemeClr val="bg1"/>
                </a:solidFill>
                <a:latin typeface="+mn-lt"/>
              </a:defRPr>
            </a:lvl4pPr>
            <a:lvl5pPr marL="0" indent="0">
              <a:buNone/>
              <a:defRPr sz="1400" b="0">
                <a:solidFill>
                  <a:schemeClr val="bg1"/>
                </a:solidFill>
                <a:latin typeface="+mn-lt"/>
              </a:defRPr>
            </a:lvl5pPr>
          </a:lstStyle>
          <a:p>
            <a:pPr lvl="0"/>
            <a:r>
              <a:rPr lang="en-US" dirty="0"/>
              <a:t>Date</a:t>
            </a:r>
            <a:endParaRPr lang="en-GB" dirty="0"/>
          </a:p>
        </p:txBody>
      </p:sp>
    </p:spTree>
    <p:extLst>
      <p:ext uri="{BB962C8B-B14F-4D97-AF65-F5344CB8AC3E}">
        <p14:creationId xmlns:p14="http://schemas.microsoft.com/office/powerpoint/2010/main" val="1467506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2A4A23B-C85D-433E-8C91-4C89278D91AB}"/>
              </a:ext>
            </a:extLst>
          </p:cNvPr>
          <p:cNvGraphicFramePr>
            <a:graphicFrameLocks noChangeAspect="1"/>
          </p:cNvGraphicFramePr>
          <p:nvPr userDrawn="1">
            <p:custDataLst>
              <p:tags r:id="rId9"/>
            </p:custDataLst>
            <p:extLst>
              <p:ext uri="{D42A27DB-BD31-4B8C-83A1-F6EECF244321}">
                <p14:modId xmlns:p14="http://schemas.microsoft.com/office/powerpoint/2010/main" val="20732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8" name="Object 7" hidden="1">
                        <a:extLst>
                          <a:ext uri="{FF2B5EF4-FFF2-40B4-BE49-F238E27FC236}">
                            <a16:creationId xmlns:a16="http://schemas.microsoft.com/office/drawing/2014/main" id="{52A4A23B-C85D-433E-8C91-4C89278D91A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Footer Placeholder 4"/>
          <p:cNvSpPr>
            <a:spLocks noGrp="1"/>
          </p:cNvSpPr>
          <p:nvPr>
            <p:ph type="ftr" sz="quarter" idx="3"/>
          </p:nvPr>
        </p:nvSpPr>
        <p:spPr>
          <a:xfrm>
            <a:off x="6098315" y="6308726"/>
            <a:ext cx="4905442" cy="144000"/>
          </a:xfrm>
          <a:prstGeom prst="rect">
            <a:avLst/>
          </a:prstGeom>
        </p:spPr>
        <p:txBody>
          <a:bodyPr vert="horz" lIns="0" tIns="0" rIns="0" bIns="0" rtlCol="0" anchor="ctr">
            <a:noAutofit/>
          </a:bodyPr>
          <a:lstStyle>
            <a:lvl1pPr algn="r">
              <a:defRPr sz="900">
                <a:solidFill>
                  <a:schemeClr val="accent6"/>
                </a:solidFill>
              </a:defRPr>
            </a:lvl1pPr>
          </a:lstStyle>
          <a:p>
            <a:r>
              <a:rPr lang="en-GB"/>
              <a:t>Document Title</a:t>
            </a:r>
            <a:endParaRPr lang="en-GB" dirty="0"/>
          </a:p>
        </p:txBody>
      </p:sp>
      <p:sp>
        <p:nvSpPr>
          <p:cNvPr id="2" name="Title Placeholder 1"/>
          <p:cNvSpPr>
            <a:spLocks noGrp="1"/>
          </p:cNvSpPr>
          <p:nvPr>
            <p:ph type="title"/>
          </p:nvPr>
        </p:nvSpPr>
        <p:spPr>
          <a:xfrm>
            <a:off x="438150" y="408720"/>
            <a:ext cx="11328400" cy="610455"/>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38150" y="1495426"/>
            <a:ext cx="11328400" cy="408939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a:t>
            </a:r>
          </a:p>
          <a:p>
            <a:pPr lvl="7"/>
            <a:r>
              <a:rPr lang="en-US" dirty="0"/>
              <a:t>Eight</a:t>
            </a:r>
          </a:p>
          <a:p>
            <a:pPr lvl="8"/>
            <a:r>
              <a:rPr lang="en-US" dirty="0"/>
              <a:t>nine</a:t>
            </a:r>
          </a:p>
        </p:txBody>
      </p:sp>
      <p:sp>
        <p:nvSpPr>
          <p:cNvPr id="4" name="Date Placeholder 3"/>
          <p:cNvSpPr>
            <a:spLocks noGrp="1"/>
          </p:cNvSpPr>
          <p:nvPr>
            <p:ph type="dt" sz="half" idx="2"/>
          </p:nvPr>
        </p:nvSpPr>
        <p:spPr>
          <a:xfrm>
            <a:off x="11027572" y="6308726"/>
            <a:ext cx="469108" cy="144000"/>
          </a:xfrm>
          <a:prstGeom prst="rect">
            <a:avLst/>
          </a:prstGeom>
        </p:spPr>
        <p:txBody>
          <a:bodyPr vert="horz" lIns="0" tIns="0" rIns="0" bIns="0" rtlCol="0" anchor="ctr">
            <a:noAutofit/>
          </a:bodyPr>
          <a:lstStyle>
            <a:lvl1pPr algn="r">
              <a:defRPr sz="900">
                <a:solidFill>
                  <a:schemeClr val="accent6"/>
                </a:solidFill>
              </a:defRPr>
            </a:lvl1pPr>
          </a:lstStyle>
          <a:p>
            <a:pPr algn="ctr"/>
            <a:r>
              <a:rPr lang="en-US" dirty="0"/>
              <a:t>Date</a:t>
            </a:r>
            <a:endParaRPr lang="en-GB" dirty="0"/>
          </a:p>
        </p:txBody>
      </p:sp>
      <p:sp>
        <p:nvSpPr>
          <p:cNvPr id="6" name="Slide Number Placeholder 5"/>
          <p:cNvSpPr>
            <a:spLocks noGrp="1"/>
          </p:cNvSpPr>
          <p:nvPr>
            <p:ph type="sldNum" sz="quarter" idx="4"/>
          </p:nvPr>
        </p:nvSpPr>
        <p:spPr>
          <a:xfrm>
            <a:off x="11532394" y="6308726"/>
            <a:ext cx="243521" cy="144000"/>
          </a:xfrm>
          <a:prstGeom prst="rect">
            <a:avLst/>
          </a:prstGeom>
        </p:spPr>
        <p:txBody>
          <a:bodyPr vert="horz" lIns="0" tIns="0" rIns="0" bIns="0" rtlCol="0" anchor="ctr">
            <a:noAutofit/>
          </a:bodyPr>
          <a:lstStyle>
            <a:lvl1pPr algn="r">
              <a:defRPr sz="900">
                <a:solidFill>
                  <a:schemeClr val="accent6"/>
                </a:solidFill>
              </a:defRPr>
            </a:lvl1pPr>
          </a:lstStyle>
          <a:p>
            <a:fld id="{DB75849A-DCBB-42F1-AFA6-094BC757D811}" type="slidenum">
              <a:rPr lang="en-GB" smtClean="0"/>
              <a:pPr/>
              <a:t>‹#›</a:t>
            </a:fld>
            <a:endParaRPr lang="en-GB" dirty="0"/>
          </a:p>
        </p:txBody>
      </p:sp>
      <p:cxnSp>
        <p:nvCxnSpPr>
          <p:cNvPr id="9" name="Straight Connector 8"/>
          <p:cNvCxnSpPr/>
          <p:nvPr userDrawn="1"/>
        </p:nvCxnSpPr>
        <p:spPr>
          <a:xfrm>
            <a:off x="438150" y="6153150"/>
            <a:ext cx="11328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31006" y="6332854"/>
            <a:ext cx="1476000" cy="197273"/>
          </a:xfrm>
          <a:prstGeom prst="rect">
            <a:avLst/>
          </a:prstGeom>
        </p:spPr>
      </p:pic>
    </p:spTree>
    <p:extLst>
      <p:ext uri="{BB962C8B-B14F-4D97-AF65-F5344CB8AC3E}">
        <p14:creationId xmlns:p14="http://schemas.microsoft.com/office/powerpoint/2010/main" val="169295135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68" r:id="rId3"/>
    <p:sldLayoutId id="2147483669" r:id="rId4"/>
    <p:sldLayoutId id="2147483670" r:id="rId5"/>
    <p:sldLayoutId id="2147483671" r:id="rId6"/>
    <p:sldLayoutId id="2147483672" r:id="rId7"/>
  </p:sldLayoutIdLst>
  <p:hf hdr="0"/>
  <p:txStyles>
    <p:titleStyle>
      <a:lvl1pPr algn="l" defTabSz="914400" rtl="0" eaLnBrk="1" latinLnBrk="0" hangingPunct="1">
        <a:lnSpc>
          <a:spcPct val="90000"/>
        </a:lnSpc>
        <a:spcBef>
          <a:spcPct val="0"/>
        </a:spcBef>
        <a:buNone/>
        <a:defRPr sz="1800" b="1" kern="1200">
          <a:solidFill>
            <a:schemeClr val="accent5"/>
          </a:solidFill>
          <a:latin typeface="+mj-lt"/>
          <a:ea typeface="+mj-ea"/>
          <a:cs typeface="+mj-cs"/>
        </a:defRPr>
      </a:lvl1pPr>
    </p:titleStyle>
    <p:bodyStyle>
      <a:lvl1pPr marL="0" indent="0" algn="l" defTabSz="914400" rtl="0" eaLnBrk="1" latinLnBrk="0" hangingPunct="1">
        <a:spcBef>
          <a:spcPts val="12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2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61950" indent="-180975"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42925"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chart" Target="../charts/chart1.xml"/><Relationship Id="rId5" Type="http://schemas.openxmlformats.org/officeDocument/2006/relationships/image" Target="../media/image9.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chart" Target="../charts/chart3.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59200" y="911456"/>
            <a:ext cx="8061691" cy="646331"/>
          </a:xfrm>
          <a:prstGeom prst="rect">
            <a:avLst/>
          </a:prstGeom>
          <a:noFill/>
        </p:spPr>
        <p:txBody>
          <a:bodyPr wrap="square" rtlCol="0">
            <a:spAutoFit/>
          </a:bodyPr>
          <a:lstStyle/>
          <a:p>
            <a:r>
              <a:rPr lang="en-GB" sz="3600" b="1" dirty="0">
                <a:solidFill>
                  <a:schemeClr val="bg1"/>
                </a:solidFill>
                <a:latin typeface="Arial" panose="020B0604020202020204" pitchFamily="34" charset="0"/>
                <a:cs typeface="Arial" panose="020B0604020202020204" pitchFamily="34" charset="0"/>
              </a:rPr>
              <a:t>UK Out of Home Revenue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02419" y="5868025"/>
            <a:ext cx="745986" cy="566230"/>
          </a:xfrm>
          <a:prstGeom prst="rect">
            <a:avLst/>
          </a:prstGeom>
        </p:spPr>
      </p:pic>
    </p:spTree>
    <p:extLst>
      <p:ext uri="{BB962C8B-B14F-4D97-AF65-F5344CB8AC3E}">
        <p14:creationId xmlns:p14="http://schemas.microsoft.com/office/powerpoint/2010/main" val="32746817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150" y="408720"/>
            <a:ext cx="11328400" cy="610455"/>
          </a:xfrm>
        </p:spPr>
        <p:txBody>
          <a:bodyPr/>
          <a:lstStyle/>
          <a:p>
            <a:r>
              <a:rPr lang="en-GB" altLang="en-US" sz="2200" dirty="0"/>
              <a:t>Disclaimer </a:t>
            </a:r>
          </a:p>
        </p:txBody>
      </p:sp>
      <p:sp>
        <p:nvSpPr>
          <p:cNvPr id="7" name="Subtitle 2"/>
          <p:cNvSpPr txBox="1">
            <a:spLocks/>
          </p:cNvSpPr>
          <p:nvPr/>
        </p:nvSpPr>
        <p:spPr>
          <a:xfrm>
            <a:off x="438150" y="2210593"/>
            <a:ext cx="11170270" cy="3200400"/>
          </a:xfrm>
          <a:prstGeom prst="rect">
            <a:avLst/>
          </a:prstGeom>
        </p:spPr>
        <p:txBody>
          <a:bodyPr vert="horz" lIns="0" tIns="0" rIns="0" bIns="0" numCol="1" spcCol="360000" rtlCol="0">
            <a:noAutofit/>
          </a:bodyPr>
          <a:lstStyle>
            <a:lvl1pPr marL="0" indent="0" algn="l" defTabSz="914400" rtl="0" eaLnBrk="1" latinLnBrk="0" hangingPunct="1">
              <a:spcBef>
                <a:spcPts val="1500"/>
              </a:spcBef>
              <a:buFont typeface="Arial" panose="020B0604020202020204" pitchFamily="34" charset="0"/>
              <a:buNone/>
              <a:defRPr sz="1400" b="1" kern="1200">
                <a:solidFill>
                  <a:schemeClr val="accent6"/>
                </a:solidFill>
                <a:latin typeface="+mj-lt"/>
                <a:ea typeface="+mn-ea"/>
                <a:cs typeface="+mn-cs"/>
              </a:defRPr>
            </a:lvl1pPr>
            <a:lvl2pPr marL="0" indent="0" algn="l" defTabSz="914400" rtl="0" eaLnBrk="1" latinLnBrk="0" hangingPunct="1">
              <a:spcBef>
                <a:spcPts val="1500"/>
              </a:spcBef>
              <a:buFont typeface="Arial" panose="020B0604020202020204" pitchFamily="34" charset="0"/>
              <a:buNone/>
              <a:defRPr sz="1400" kern="1200">
                <a:solidFill>
                  <a:schemeClr val="accent6"/>
                </a:solidFill>
                <a:latin typeface="+mn-lt"/>
                <a:ea typeface="+mn-ea"/>
                <a:cs typeface="+mn-cs"/>
              </a:defRPr>
            </a:lvl2pPr>
            <a:lvl3pPr marL="180975" indent="-180975" algn="l" defTabSz="914400" rtl="0" eaLnBrk="1" latinLnBrk="0" hangingPunct="1">
              <a:spcBef>
                <a:spcPts val="600"/>
              </a:spcBef>
              <a:buFont typeface="Arial" panose="020B0604020202020204" pitchFamily="34" charset="0"/>
              <a:buChar char="•"/>
              <a:defRPr sz="1400" kern="1200">
                <a:solidFill>
                  <a:schemeClr val="accent6"/>
                </a:solidFill>
                <a:latin typeface="+mn-lt"/>
                <a:ea typeface="+mn-ea"/>
                <a:cs typeface="+mn-cs"/>
              </a:defRPr>
            </a:lvl3pPr>
            <a:lvl4pPr marL="357188" indent="-17780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4pPr>
            <a:lvl5pPr marL="533400" indent="-171450" algn="l" defTabSz="914400" rtl="0" eaLnBrk="1" latinLnBrk="0" hangingPunct="1">
              <a:spcBef>
                <a:spcPct val="20000"/>
              </a:spcBef>
              <a:buFont typeface="Arial" panose="020B0604020202020204" pitchFamily="34" charset="0"/>
              <a:buChar char="»"/>
              <a:defRPr sz="1200" kern="1200">
                <a:solidFill>
                  <a:schemeClr val="accent6"/>
                </a:solidFill>
                <a:latin typeface="+mn-lt"/>
                <a:ea typeface="+mn-ea"/>
                <a:cs typeface="+mn-cs"/>
              </a:defRPr>
            </a:lvl5pPr>
            <a:lvl6pPr marL="714375" indent="-180975" algn="l" defTabSz="895350" rtl="0" eaLnBrk="1" latinLnBrk="0" hangingPunct="1">
              <a:spcBef>
                <a:spcPct val="20000"/>
              </a:spcBef>
              <a:buFont typeface="Arial" panose="020B0604020202020204" pitchFamily="34" charset="0"/>
              <a:buChar char="•"/>
              <a:defRPr sz="1100" kern="1200">
                <a:solidFill>
                  <a:schemeClr val="accent6"/>
                </a:solidFill>
                <a:latin typeface="+mn-lt"/>
                <a:ea typeface="+mn-ea"/>
                <a:cs typeface="+mn-cs"/>
              </a:defRPr>
            </a:lvl6pPr>
            <a:lvl7pPr marL="1076325" marR="0" indent="-1809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050" kern="1200">
                <a:solidFill>
                  <a:schemeClr val="accent6"/>
                </a:solidFill>
                <a:latin typeface="+mn-lt"/>
                <a:ea typeface="+mn-ea"/>
                <a:cs typeface="+mn-cs"/>
              </a:defRPr>
            </a:lvl7pPr>
            <a:lvl8pPr marL="1257300" marR="0" indent="-180975"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kern="1200">
                <a:solidFill>
                  <a:schemeClr val="accent6"/>
                </a:solidFill>
                <a:latin typeface="+mn-lt"/>
                <a:ea typeface="+mn-ea"/>
                <a:cs typeface="+mn-cs"/>
              </a:defRPr>
            </a:lvl8pPr>
            <a:lvl9pPr marL="1438275" marR="0" indent="-180975" algn="l" defTabSz="895350" rtl="0" eaLnBrk="1" fontAlgn="auto" latinLnBrk="0" hangingPunct="1">
              <a:lnSpc>
                <a:spcPct val="100000"/>
              </a:lnSpc>
              <a:spcBef>
                <a:spcPct val="20000"/>
              </a:spcBef>
              <a:spcAft>
                <a:spcPts val="0"/>
              </a:spcAft>
              <a:buClrTx/>
              <a:buSzTx/>
              <a:buFont typeface="Arial" panose="020B0604020202020204" pitchFamily="34" charset="0"/>
              <a:buChar char="•"/>
              <a:tabLst/>
              <a:defRPr sz="900" kern="1200">
                <a:solidFill>
                  <a:schemeClr val="accent6"/>
                </a:solidFill>
                <a:latin typeface="+mn-lt"/>
                <a:ea typeface="+mn-ea"/>
                <a:cs typeface="+mn-cs"/>
              </a:defRPr>
            </a:lvl9pPr>
          </a:lstStyle>
          <a:p>
            <a:pPr>
              <a:lnSpc>
                <a:spcPct val="150000"/>
              </a:lnSpc>
            </a:pPr>
            <a:r>
              <a:rPr lang="en-GB" b="0" i="1" dirty="0">
                <a:latin typeface="+mn-lt"/>
              </a:rPr>
              <a:t>Outsmart has retained PricewaterhouseCoopers LLP (the UK firm) (‘PwC’) to compile the OOH industry revenue figures collected from its members and to deliver to Outsmart the </a:t>
            </a:r>
            <a:r>
              <a:rPr lang="en-GB" b="0" i="1" dirty="0" err="1">
                <a:latin typeface="+mn-lt"/>
              </a:rPr>
              <a:t>topline</a:t>
            </a:r>
            <a:r>
              <a:rPr lang="en-GB" b="0" i="1" dirty="0">
                <a:latin typeface="+mn-lt"/>
              </a:rPr>
              <a:t> figures collated from this review; PwC has not verified the information which it received from respondents, and provides no opinion or other form of assurance with respect to such information.</a:t>
            </a:r>
          </a:p>
          <a:p>
            <a:pPr>
              <a:lnSpc>
                <a:spcPct val="150000"/>
              </a:lnSpc>
            </a:pPr>
            <a:r>
              <a:rPr lang="en-GB" b="0" i="1" dirty="0">
                <a:latin typeface="+mn-lt"/>
              </a:rPr>
              <a:t>This publication has been prepared for general guidance on matters of interest only, and does not constitute professional advice. You should not act upon the information contained in this publication without obtaining specific professional advice. No representation or warranty (express or implied) is given as to the accuracy or completeness of the information contained in this publication, and, to the extent permitted by law, neither Outsmart nor any of the contributors/ subcontractors accept or assume any liability, responsibility or duty of care for any consequences of you or anyone else acting, or refraining to act, in reliance on the information contained in this publication or for any decision based on it.</a:t>
            </a:r>
            <a:endParaRPr lang="en-GB" b="0" dirty="0">
              <a:latin typeface="+mn-lt"/>
            </a:endParaRPr>
          </a:p>
          <a:p>
            <a:pPr>
              <a:lnSpc>
                <a:spcPct val="150000"/>
              </a:lnSpc>
            </a:pPr>
            <a:endParaRPr lang="en-GB" sz="1600" dirty="0"/>
          </a:p>
        </p:txBody>
      </p:sp>
      <p:pic>
        <p:nvPicPr>
          <p:cNvPr id="6" name="Picture 2" descr="Image result for pwc logo">
            <a:extLst>
              <a:ext uri="{FF2B5EF4-FFF2-40B4-BE49-F238E27FC236}">
                <a16:creationId xmlns:a16="http://schemas.microsoft.com/office/drawing/2014/main" id="{8FE17676-3570-49EE-99D8-DFEDEC68154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63364" y="6264039"/>
            <a:ext cx="503186" cy="382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9243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566C0D-9886-44B3-B5E4-6C5BD0471214}"/>
              </a:ext>
            </a:extLst>
          </p:cNvPr>
          <p:cNvGraphicFramePr>
            <a:graphicFrameLocks noChangeAspect="1"/>
          </p:cNvGraphicFramePr>
          <p:nvPr>
            <p:custDataLst>
              <p:tags r:id="rId1"/>
            </p:custDataLst>
            <p:extLst>
              <p:ext uri="{D42A27DB-BD31-4B8C-83A1-F6EECF244321}">
                <p14:modId xmlns:p14="http://schemas.microsoft.com/office/powerpoint/2010/main" val="1527499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EE566C0D-9886-44B3-B5E4-6C5BD04712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p:cNvSpPr>
            <a:spLocks noGrp="1"/>
          </p:cNvSpPr>
          <p:nvPr>
            <p:ph type="title"/>
          </p:nvPr>
        </p:nvSpPr>
        <p:spPr>
          <a:xfrm>
            <a:off x="438150" y="408720"/>
            <a:ext cx="11328400" cy="610455"/>
          </a:xfrm>
        </p:spPr>
        <p:txBody>
          <a:bodyPr vert="horz"/>
          <a:lstStyle/>
          <a:p>
            <a:r>
              <a:rPr lang="en-GB" altLang="en-US" sz="2200" dirty="0"/>
              <a:t>UK Out of Home Advertising Revenue</a:t>
            </a:r>
          </a:p>
        </p:txBody>
      </p:sp>
      <p:sp>
        <p:nvSpPr>
          <p:cNvPr id="5" name="Title 1"/>
          <p:cNvSpPr txBox="1">
            <a:spLocks/>
          </p:cNvSpPr>
          <p:nvPr/>
        </p:nvSpPr>
        <p:spPr bwMode="auto">
          <a:xfrm>
            <a:off x="438150" y="5971428"/>
            <a:ext cx="8858440"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nSpc>
                <a:spcPct val="90000"/>
              </a:lnSpc>
              <a:spcBef>
                <a:spcPts val="100"/>
              </a:spcBef>
              <a:defRPr sz="800">
                <a:latin typeface="Arial" charset="0"/>
                <a:ea typeface="ヒラギノ角ゴ Pro W3" pitchFamily="-65" charset="-128"/>
              </a:defRPr>
            </a:lvl1pPr>
            <a:lvl2pPr marL="742950" indent="-285750" eaLnBrk="0" hangingPunct="0">
              <a:defRPr sz="2400">
                <a:latin typeface="Arial" charset="0"/>
                <a:ea typeface="ヒラギノ角ゴ Pro W3" pitchFamily="-65" charset="-128"/>
              </a:defRPr>
            </a:lvl2pPr>
            <a:lvl3pPr marL="1143000" indent="-228600" eaLnBrk="0" hangingPunct="0">
              <a:defRPr sz="2400">
                <a:latin typeface="Arial" charset="0"/>
                <a:ea typeface="ヒラギノ角ゴ Pro W3" pitchFamily="-65" charset="-128"/>
              </a:defRPr>
            </a:lvl3pPr>
            <a:lvl4pPr marL="1600200" indent="-228600" eaLnBrk="0" hangingPunct="0">
              <a:defRPr sz="2400">
                <a:latin typeface="Arial" charset="0"/>
                <a:ea typeface="ヒラギノ角ゴ Pro W3" pitchFamily="-65" charset="-128"/>
              </a:defRPr>
            </a:lvl4pPr>
            <a:lvl5pPr marL="2057400" indent="-228600" eaLnBrk="0" hangingPunct="0">
              <a:defRPr sz="2400">
                <a:latin typeface="Arial" charset="0"/>
                <a:ea typeface="ヒラギノ角ゴ Pro W3" pitchFamily="-65" charset="-128"/>
              </a:defRPr>
            </a:lvl5pPr>
            <a:lvl6pPr marL="2514600" indent="-228600" defTabSz="457200" eaLnBrk="0" fontAlgn="base" hangingPunct="0">
              <a:spcBef>
                <a:spcPct val="0"/>
              </a:spcBef>
              <a:spcAft>
                <a:spcPct val="0"/>
              </a:spcAft>
              <a:defRPr sz="2400">
                <a:latin typeface="Arial" charset="0"/>
                <a:ea typeface="ヒラギノ角ゴ Pro W3" pitchFamily="-65" charset="-128"/>
              </a:defRPr>
            </a:lvl6pPr>
            <a:lvl7pPr marL="2971800" indent="-228600" defTabSz="457200" eaLnBrk="0" fontAlgn="base" hangingPunct="0">
              <a:spcBef>
                <a:spcPct val="0"/>
              </a:spcBef>
              <a:spcAft>
                <a:spcPct val="0"/>
              </a:spcAft>
              <a:defRPr sz="2400">
                <a:latin typeface="Arial" charset="0"/>
                <a:ea typeface="ヒラギノ角ゴ Pro W3" pitchFamily="-65" charset="-128"/>
              </a:defRPr>
            </a:lvl7pPr>
            <a:lvl8pPr marL="3429000" indent="-228600" defTabSz="457200" eaLnBrk="0" fontAlgn="base" hangingPunct="0">
              <a:spcBef>
                <a:spcPct val="0"/>
              </a:spcBef>
              <a:spcAft>
                <a:spcPct val="0"/>
              </a:spcAft>
              <a:defRPr sz="2400">
                <a:latin typeface="Arial" charset="0"/>
                <a:ea typeface="ヒラギノ角ゴ Pro W3" pitchFamily="-65" charset="-128"/>
              </a:defRPr>
            </a:lvl8pPr>
            <a:lvl9pPr marL="3886200" indent="-228600" defTabSz="457200" eaLnBrk="0" fontAlgn="base" hangingPunct="0">
              <a:spcBef>
                <a:spcPct val="0"/>
              </a:spcBef>
              <a:spcAft>
                <a:spcPct val="0"/>
              </a:spcAft>
              <a:defRPr sz="2400">
                <a:latin typeface="Arial" charset="0"/>
                <a:ea typeface="ヒラギノ角ゴ Pro W3" pitchFamily="-65" charset="-128"/>
              </a:defRPr>
            </a:lvl9pPr>
          </a:lstStyle>
          <a:p>
            <a:r>
              <a:rPr lang="en-GB" altLang="en-US" dirty="0">
                <a:latin typeface="+mn-lt"/>
              </a:rPr>
              <a:t>Source: Outsmart</a:t>
            </a:r>
          </a:p>
        </p:txBody>
      </p:sp>
      <p:pic>
        <p:nvPicPr>
          <p:cNvPr id="1026" name="Picture 2" descr="Image result for pwc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263364" y="6264039"/>
            <a:ext cx="503186" cy="38208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Chart 6">
            <a:extLst>
              <a:ext uri="{FF2B5EF4-FFF2-40B4-BE49-F238E27FC236}">
                <a16:creationId xmlns:a16="http://schemas.microsoft.com/office/drawing/2014/main" id="{B6855A07-005F-4F5F-B5B4-88D1C86525DA}"/>
              </a:ext>
            </a:extLst>
          </p:cNvPr>
          <p:cNvGraphicFramePr>
            <a:graphicFrameLocks/>
          </p:cNvGraphicFramePr>
          <p:nvPr>
            <p:extLst>
              <p:ext uri="{D42A27DB-BD31-4B8C-83A1-F6EECF244321}">
                <p14:modId xmlns:p14="http://schemas.microsoft.com/office/powerpoint/2010/main" val="1737064517"/>
              </p:ext>
            </p:extLst>
          </p:nvPr>
        </p:nvGraphicFramePr>
        <p:xfrm>
          <a:off x="438150" y="1142999"/>
          <a:ext cx="11328400" cy="464418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739960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38150" y="408720"/>
            <a:ext cx="11328400" cy="610455"/>
          </a:xfrm>
        </p:spPr>
        <p:txBody>
          <a:bodyPr/>
          <a:lstStyle/>
          <a:p>
            <a:r>
              <a:rPr lang="en-GB" altLang="en-US" sz="2200" dirty="0"/>
              <a:t>UK Out of Home Revenue by Quarter</a:t>
            </a:r>
          </a:p>
        </p:txBody>
      </p:sp>
      <p:sp>
        <p:nvSpPr>
          <p:cNvPr id="6" name="Title 1"/>
          <p:cNvSpPr txBox="1">
            <a:spLocks/>
          </p:cNvSpPr>
          <p:nvPr/>
        </p:nvSpPr>
        <p:spPr bwMode="auto">
          <a:xfrm>
            <a:off x="438150" y="5981973"/>
            <a:ext cx="8858440" cy="137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nSpc>
                <a:spcPct val="90000"/>
              </a:lnSpc>
              <a:spcBef>
                <a:spcPts val="100"/>
              </a:spcBef>
              <a:defRPr sz="800">
                <a:latin typeface="Arial" charset="0"/>
                <a:ea typeface="ヒラギノ角ゴ Pro W3" pitchFamily="-65" charset="-128"/>
              </a:defRPr>
            </a:lvl1pPr>
            <a:lvl2pPr marL="742950" indent="-285750" eaLnBrk="0" hangingPunct="0">
              <a:defRPr sz="2400">
                <a:latin typeface="Arial" charset="0"/>
                <a:ea typeface="ヒラギノ角ゴ Pro W3" pitchFamily="-65" charset="-128"/>
              </a:defRPr>
            </a:lvl2pPr>
            <a:lvl3pPr marL="1143000" indent="-228600" eaLnBrk="0" hangingPunct="0">
              <a:defRPr sz="2400">
                <a:latin typeface="Arial" charset="0"/>
                <a:ea typeface="ヒラギノ角ゴ Pro W3" pitchFamily="-65" charset="-128"/>
              </a:defRPr>
            </a:lvl3pPr>
            <a:lvl4pPr marL="1600200" indent="-228600" eaLnBrk="0" hangingPunct="0">
              <a:defRPr sz="2400">
                <a:latin typeface="Arial" charset="0"/>
                <a:ea typeface="ヒラギノ角ゴ Pro W3" pitchFamily="-65" charset="-128"/>
              </a:defRPr>
            </a:lvl4pPr>
            <a:lvl5pPr marL="2057400" indent="-228600" eaLnBrk="0" hangingPunct="0">
              <a:defRPr sz="2400">
                <a:latin typeface="Arial" charset="0"/>
                <a:ea typeface="ヒラギノ角ゴ Pro W3" pitchFamily="-65" charset="-128"/>
              </a:defRPr>
            </a:lvl5pPr>
            <a:lvl6pPr marL="2514600" indent="-228600" defTabSz="457200" eaLnBrk="0" fontAlgn="base" hangingPunct="0">
              <a:spcBef>
                <a:spcPct val="0"/>
              </a:spcBef>
              <a:spcAft>
                <a:spcPct val="0"/>
              </a:spcAft>
              <a:defRPr sz="2400">
                <a:latin typeface="Arial" charset="0"/>
                <a:ea typeface="ヒラギノ角ゴ Pro W3" pitchFamily="-65" charset="-128"/>
              </a:defRPr>
            </a:lvl6pPr>
            <a:lvl7pPr marL="2971800" indent="-228600" defTabSz="457200" eaLnBrk="0" fontAlgn="base" hangingPunct="0">
              <a:spcBef>
                <a:spcPct val="0"/>
              </a:spcBef>
              <a:spcAft>
                <a:spcPct val="0"/>
              </a:spcAft>
              <a:defRPr sz="2400">
                <a:latin typeface="Arial" charset="0"/>
                <a:ea typeface="ヒラギノ角ゴ Pro W3" pitchFamily="-65" charset="-128"/>
              </a:defRPr>
            </a:lvl7pPr>
            <a:lvl8pPr marL="3429000" indent="-228600" defTabSz="457200" eaLnBrk="0" fontAlgn="base" hangingPunct="0">
              <a:spcBef>
                <a:spcPct val="0"/>
              </a:spcBef>
              <a:spcAft>
                <a:spcPct val="0"/>
              </a:spcAft>
              <a:defRPr sz="2400">
                <a:latin typeface="Arial" charset="0"/>
                <a:ea typeface="ヒラギノ角ゴ Pro W3" pitchFamily="-65" charset="-128"/>
              </a:defRPr>
            </a:lvl8pPr>
            <a:lvl9pPr marL="3886200" indent="-228600" defTabSz="457200" eaLnBrk="0" fontAlgn="base" hangingPunct="0">
              <a:spcBef>
                <a:spcPct val="0"/>
              </a:spcBef>
              <a:spcAft>
                <a:spcPct val="0"/>
              </a:spcAft>
              <a:defRPr sz="2400">
                <a:latin typeface="Arial" charset="0"/>
                <a:ea typeface="ヒラギノ角ゴ Pro W3" pitchFamily="-65" charset="-128"/>
              </a:defRPr>
            </a:lvl9pPr>
          </a:lstStyle>
          <a:p>
            <a:r>
              <a:rPr lang="en-GB" altLang="en-US" dirty="0">
                <a:latin typeface="+mn-lt"/>
              </a:rPr>
              <a:t>Source: Outsmart</a:t>
            </a:r>
          </a:p>
          <a:p>
            <a:pPr lvl="0">
              <a:defRPr/>
            </a:pPr>
            <a:endParaRPr lang="en-US" altLang="en-US" sz="100" dirty="0">
              <a:solidFill>
                <a:srgbClr val="7A7D81"/>
              </a:solidFill>
              <a:latin typeface="+mn-lt"/>
            </a:endParaRPr>
          </a:p>
        </p:txBody>
      </p:sp>
      <p:graphicFrame>
        <p:nvGraphicFramePr>
          <p:cNvPr id="7" name="Chart 6">
            <a:extLst>
              <a:ext uri="{FF2B5EF4-FFF2-40B4-BE49-F238E27FC236}">
                <a16:creationId xmlns:a16="http://schemas.microsoft.com/office/drawing/2014/main" id="{00000000-0008-0000-0300-000004000000}"/>
              </a:ext>
            </a:extLst>
          </p:cNvPr>
          <p:cNvGraphicFramePr>
            <a:graphicFrameLocks/>
          </p:cNvGraphicFramePr>
          <p:nvPr>
            <p:extLst>
              <p:ext uri="{D42A27DB-BD31-4B8C-83A1-F6EECF244321}">
                <p14:modId xmlns:p14="http://schemas.microsoft.com/office/powerpoint/2010/main" val="3769760561"/>
              </p:ext>
            </p:extLst>
          </p:nvPr>
        </p:nvGraphicFramePr>
        <p:xfrm>
          <a:off x="428624" y="953642"/>
          <a:ext cx="11156823" cy="4825366"/>
        </p:xfrm>
        <a:graphic>
          <a:graphicData uri="http://schemas.openxmlformats.org/drawingml/2006/chart">
            <c:chart xmlns:c="http://schemas.openxmlformats.org/drawingml/2006/chart" xmlns:r="http://schemas.openxmlformats.org/officeDocument/2006/relationships" r:id="rId2"/>
          </a:graphicData>
        </a:graphic>
      </p:graphicFrame>
      <p:pic>
        <p:nvPicPr>
          <p:cNvPr id="8" name="Picture 2" descr="Image result for pwc logo">
            <a:extLst>
              <a:ext uri="{FF2B5EF4-FFF2-40B4-BE49-F238E27FC236}">
                <a16:creationId xmlns:a16="http://schemas.microsoft.com/office/drawing/2014/main" id="{56FA3DA9-EF2A-4048-9616-4E8F8E0D005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63364" y="6264039"/>
            <a:ext cx="503186" cy="382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4921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5B5CAF-6E4F-8856-7E86-B154782F3AD2}"/>
              </a:ext>
            </a:extLst>
          </p:cNvPr>
          <p:cNvGraphicFramePr>
            <a:graphicFrameLocks noChangeAspect="1"/>
          </p:cNvGraphicFramePr>
          <p:nvPr>
            <p:custDataLst>
              <p:tags r:id="rId1"/>
            </p:custDataLst>
            <p:extLst>
              <p:ext uri="{D42A27DB-BD31-4B8C-83A1-F6EECF244321}">
                <p14:modId xmlns:p14="http://schemas.microsoft.com/office/powerpoint/2010/main" val="1378730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think-cell data - do not delete" hidden="1">
                        <a:extLst>
                          <a:ext uri="{FF2B5EF4-FFF2-40B4-BE49-F238E27FC236}">
                            <a16:creationId xmlns:a16="http://schemas.microsoft.com/office/drawing/2014/main" id="{B45B5CAF-6E4F-8856-7E86-B154782F3A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1"/>
          <p:cNvSpPr>
            <a:spLocks noGrp="1"/>
          </p:cNvSpPr>
          <p:nvPr>
            <p:ph type="title"/>
          </p:nvPr>
        </p:nvSpPr>
        <p:spPr>
          <a:xfrm>
            <a:off x="438150" y="408720"/>
            <a:ext cx="11328400" cy="610455"/>
          </a:xfrm>
        </p:spPr>
        <p:txBody>
          <a:bodyPr vert="horz"/>
          <a:lstStyle/>
          <a:p>
            <a:r>
              <a:rPr lang="en-GB" altLang="en-US" sz="2200" dirty="0"/>
              <a:t>UK Out of Home Advertising Revenue Split by Environment</a:t>
            </a:r>
          </a:p>
        </p:txBody>
      </p:sp>
      <p:sp>
        <p:nvSpPr>
          <p:cNvPr id="6" name="Title 1"/>
          <p:cNvSpPr txBox="1">
            <a:spLocks/>
          </p:cNvSpPr>
          <p:nvPr/>
        </p:nvSpPr>
        <p:spPr bwMode="auto">
          <a:xfrm>
            <a:off x="438150" y="5981973"/>
            <a:ext cx="8858440" cy="137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nSpc>
                <a:spcPct val="90000"/>
              </a:lnSpc>
              <a:spcBef>
                <a:spcPts val="100"/>
              </a:spcBef>
              <a:defRPr sz="800">
                <a:latin typeface="Arial" charset="0"/>
                <a:ea typeface="ヒラギノ角ゴ Pro W3" pitchFamily="-65" charset="-128"/>
              </a:defRPr>
            </a:lvl1pPr>
            <a:lvl2pPr marL="742950" indent="-285750" eaLnBrk="0" hangingPunct="0">
              <a:defRPr sz="2400">
                <a:latin typeface="Arial" charset="0"/>
                <a:ea typeface="ヒラギノ角ゴ Pro W3" pitchFamily="-65" charset="-128"/>
              </a:defRPr>
            </a:lvl2pPr>
            <a:lvl3pPr marL="1143000" indent="-228600" eaLnBrk="0" hangingPunct="0">
              <a:defRPr sz="2400">
                <a:latin typeface="Arial" charset="0"/>
                <a:ea typeface="ヒラギノ角ゴ Pro W3" pitchFamily="-65" charset="-128"/>
              </a:defRPr>
            </a:lvl3pPr>
            <a:lvl4pPr marL="1600200" indent="-228600" eaLnBrk="0" hangingPunct="0">
              <a:defRPr sz="2400">
                <a:latin typeface="Arial" charset="0"/>
                <a:ea typeface="ヒラギノ角ゴ Pro W3" pitchFamily="-65" charset="-128"/>
              </a:defRPr>
            </a:lvl4pPr>
            <a:lvl5pPr marL="2057400" indent="-228600" eaLnBrk="0" hangingPunct="0">
              <a:defRPr sz="2400">
                <a:latin typeface="Arial" charset="0"/>
                <a:ea typeface="ヒラギノ角ゴ Pro W3" pitchFamily="-65" charset="-128"/>
              </a:defRPr>
            </a:lvl5pPr>
            <a:lvl6pPr marL="2514600" indent="-228600" defTabSz="457200" eaLnBrk="0" fontAlgn="base" hangingPunct="0">
              <a:spcBef>
                <a:spcPct val="0"/>
              </a:spcBef>
              <a:spcAft>
                <a:spcPct val="0"/>
              </a:spcAft>
              <a:defRPr sz="2400">
                <a:latin typeface="Arial" charset="0"/>
                <a:ea typeface="ヒラギノ角ゴ Pro W3" pitchFamily="-65" charset="-128"/>
              </a:defRPr>
            </a:lvl6pPr>
            <a:lvl7pPr marL="2971800" indent="-228600" defTabSz="457200" eaLnBrk="0" fontAlgn="base" hangingPunct="0">
              <a:spcBef>
                <a:spcPct val="0"/>
              </a:spcBef>
              <a:spcAft>
                <a:spcPct val="0"/>
              </a:spcAft>
              <a:defRPr sz="2400">
                <a:latin typeface="Arial" charset="0"/>
                <a:ea typeface="ヒラギノ角ゴ Pro W3" pitchFamily="-65" charset="-128"/>
              </a:defRPr>
            </a:lvl7pPr>
            <a:lvl8pPr marL="3429000" indent="-228600" defTabSz="457200" eaLnBrk="0" fontAlgn="base" hangingPunct="0">
              <a:spcBef>
                <a:spcPct val="0"/>
              </a:spcBef>
              <a:spcAft>
                <a:spcPct val="0"/>
              </a:spcAft>
              <a:defRPr sz="2400">
                <a:latin typeface="Arial" charset="0"/>
                <a:ea typeface="ヒラギノ角ゴ Pro W3" pitchFamily="-65" charset="-128"/>
              </a:defRPr>
            </a:lvl8pPr>
            <a:lvl9pPr marL="3886200" indent="-228600" defTabSz="457200" eaLnBrk="0" fontAlgn="base" hangingPunct="0">
              <a:spcBef>
                <a:spcPct val="0"/>
              </a:spcBef>
              <a:spcAft>
                <a:spcPct val="0"/>
              </a:spcAft>
              <a:defRPr sz="2400">
                <a:latin typeface="Arial" charset="0"/>
                <a:ea typeface="ヒラギノ角ゴ Pro W3" pitchFamily="-65" charset="-128"/>
              </a:defRPr>
            </a:lvl9pPr>
          </a:lstStyle>
          <a:p>
            <a:r>
              <a:rPr lang="en-GB" altLang="en-US" dirty="0">
                <a:latin typeface="+mn-lt"/>
              </a:rPr>
              <a:t>Source: Outsmart</a:t>
            </a:r>
          </a:p>
          <a:p>
            <a:pPr lvl="0">
              <a:defRPr/>
            </a:pPr>
            <a:endParaRPr lang="en-US" altLang="en-US" sz="100" dirty="0">
              <a:solidFill>
                <a:srgbClr val="7A7D81"/>
              </a:solidFill>
              <a:latin typeface="+mn-lt"/>
            </a:endParaRPr>
          </a:p>
        </p:txBody>
      </p:sp>
      <p:graphicFrame>
        <p:nvGraphicFramePr>
          <p:cNvPr id="7" name="Chart 6">
            <a:extLst>
              <a:ext uri="{FF2B5EF4-FFF2-40B4-BE49-F238E27FC236}">
                <a16:creationId xmlns:a16="http://schemas.microsoft.com/office/drawing/2014/main" id="{00000000-0008-0000-0300-000004000000}"/>
              </a:ext>
            </a:extLst>
          </p:cNvPr>
          <p:cNvGraphicFramePr>
            <a:graphicFrameLocks/>
          </p:cNvGraphicFramePr>
          <p:nvPr>
            <p:extLst>
              <p:ext uri="{D42A27DB-BD31-4B8C-83A1-F6EECF244321}">
                <p14:modId xmlns:p14="http://schemas.microsoft.com/office/powerpoint/2010/main" val="3717953654"/>
              </p:ext>
            </p:extLst>
          </p:nvPr>
        </p:nvGraphicFramePr>
        <p:xfrm>
          <a:off x="428624" y="953642"/>
          <a:ext cx="11156823" cy="4825366"/>
        </p:xfrm>
        <a:graphic>
          <a:graphicData uri="http://schemas.openxmlformats.org/drawingml/2006/chart">
            <c:chart xmlns:c="http://schemas.openxmlformats.org/drawingml/2006/chart" xmlns:r="http://schemas.openxmlformats.org/officeDocument/2006/relationships" r:id="rId5"/>
          </a:graphicData>
        </a:graphic>
      </p:graphicFrame>
      <p:pic>
        <p:nvPicPr>
          <p:cNvPr id="8" name="Picture 2" descr="Image result for pwc logo">
            <a:extLst>
              <a:ext uri="{FF2B5EF4-FFF2-40B4-BE49-F238E27FC236}">
                <a16:creationId xmlns:a16="http://schemas.microsoft.com/office/drawing/2014/main" id="{56FA3DA9-EF2A-4048-9616-4E8F8E0D005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263364" y="6264039"/>
            <a:ext cx="503186" cy="382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83706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59200" y="911456"/>
            <a:ext cx="8061691" cy="646331"/>
          </a:xfrm>
          <a:prstGeom prst="rect">
            <a:avLst/>
          </a:prstGeom>
          <a:noFill/>
        </p:spPr>
        <p:txBody>
          <a:bodyPr wrap="square" rtlCol="0">
            <a:spAutoFit/>
          </a:bodyPr>
          <a:lstStyle/>
          <a:p>
            <a:r>
              <a:rPr lang="en-GB" sz="3600" b="1" dirty="0">
                <a:solidFill>
                  <a:schemeClr val="bg1"/>
                </a:solidFill>
                <a:latin typeface="Arial" panose="020B0604020202020204" pitchFamily="34" charset="0"/>
                <a:cs typeface="Arial" panose="020B0604020202020204" pitchFamily="34" charset="0"/>
              </a:rPr>
              <a:t>UK Digital Out of Home Revenue </a:t>
            </a: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02419" y="5868025"/>
            <a:ext cx="745986" cy="566230"/>
          </a:xfrm>
          <a:prstGeom prst="rect">
            <a:avLst/>
          </a:prstGeom>
        </p:spPr>
      </p:pic>
    </p:spTree>
    <p:extLst>
      <p:ext uri="{BB962C8B-B14F-4D97-AF65-F5344CB8AC3E}">
        <p14:creationId xmlns:p14="http://schemas.microsoft.com/office/powerpoint/2010/main" val="17299367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438150" y="408720"/>
            <a:ext cx="11328400" cy="610455"/>
          </a:xfrm>
        </p:spPr>
        <p:txBody>
          <a:bodyPr/>
          <a:lstStyle/>
          <a:p>
            <a:r>
              <a:rPr lang="en-GB" altLang="en-US" sz="2200" dirty="0"/>
              <a:t>UK Digital Out of Home Revenue</a:t>
            </a:r>
          </a:p>
        </p:txBody>
      </p:sp>
      <p:sp>
        <p:nvSpPr>
          <p:cNvPr id="8" name="Title 1"/>
          <p:cNvSpPr txBox="1">
            <a:spLocks/>
          </p:cNvSpPr>
          <p:nvPr/>
        </p:nvSpPr>
        <p:spPr bwMode="auto">
          <a:xfrm>
            <a:off x="438150" y="5971428"/>
            <a:ext cx="8858440"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nSpc>
                <a:spcPct val="90000"/>
              </a:lnSpc>
              <a:spcBef>
                <a:spcPts val="100"/>
              </a:spcBef>
              <a:defRPr sz="800">
                <a:latin typeface="Arial" charset="0"/>
                <a:ea typeface="ヒラギノ角ゴ Pro W3" pitchFamily="-65" charset="-128"/>
              </a:defRPr>
            </a:lvl1pPr>
            <a:lvl2pPr marL="742950" indent="-285750" eaLnBrk="0" hangingPunct="0">
              <a:defRPr sz="2400">
                <a:latin typeface="Arial" charset="0"/>
                <a:ea typeface="ヒラギノ角ゴ Pro W3" pitchFamily="-65" charset="-128"/>
              </a:defRPr>
            </a:lvl2pPr>
            <a:lvl3pPr marL="1143000" indent="-228600" eaLnBrk="0" hangingPunct="0">
              <a:defRPr sz="2400">
                <a:latin typeface="Arial" charset="0"/>
                <a:ea typeface="ヒラギノ角ゴ Pro W3" pitchFamily="-65" charset="-128"/>
              </a:defRPr>
            </a:lvl3pPr>
            <a:lvl4pPr marL="1600200" indent="-228600" eaLnBrk="0" hangingPunct="0">
              <a:defRPr sz="2400">
                <a:latin typeface="Arial" charset="0"/>
                <a:ea typeface="ヒラギノ角ゴ Pro W3" pitchFamily="-65" charset="-128"/>
              </a:defRPr>
            </a:lvl4pPr>
            <a:lvl5pPr marL="2057400" indent="-228600" eaLnBrk="0" hangingPunct="0">
              <a:defRPr sz="2400">
                <a:latin typeface="Arial" charset="0"/>
                <a:ea typeface="ヒラギノ角ゴ Pro W3" pitchFamily="-65" charset="-128"/>
              </a:defRPr>
            </a:lvl5pPr>
            <a:lvl6pPr marL="2514600" indent="-228600" defTabSz="457200" eaLnBrk="0" fontAlgn="base" hangingPunct="0">
              <a:spcBef>
                <a:spcPct val="0"/>
              </a:spcBef>
              <a:spcAft>
                <a:spcPct val="0"/>
              </a:spcAft>
              <a:defRPr sz="2400">
                <a:latin typeface="Arial" charset="0"/>
                <a:ea typeface="ヒラギノ角ゴ Pro W3" pitchFamily="-65" charset="-128"/>
              </a:defRPr>
            </a:lvl6pPr>
            <a:lvl7pPr marL="2971800" indent="-228600" defTabSz="457200" eaLnBrk="0" fontAlgn="base" hangingPunct="0">
              <a:spcBef>
                <a:spcPct val="0"/>
              </a:spcBef>
              <a:spcAft>
                <a:spcPct val="0"/>
              </a:spcAft>
              <a:defRPr sz="2400">
                <a:latin typeface="Arial" charset="0"/>
                <a:ea typeface="ヒラギノ角ゴ Pro W3" pitchFamily="-65" charset="-128"/>
              </a:defRPr>
            </a:lvl7pPr>
            <a:lvl8pPr marL="3429000" indent="-228600" defTabSz="457200" eaLnBrk="0" fontAlgn="base" hangingPunct="0">
              <a:spcBef>
                <a:spcPct val="0"/>
              </a:spcBef>
              <a:spcAft>
                <a:spcPct val="0"/>
              </a:spcAft>
              <a:defRPr sz="2400">
                <a:latin typeface="Arial" charset="0"/>
                <a:ea typeface="ヒラギノ角ゴ Pro W3" pitchFamily="-65" charset="-128"/>
              </a:defRPr>
            </a:lvl8pPr>
            <a:lvl9pPr marL="3886200" indent="-228600" defTabSz="457200" eaLnBrk="0" fontAlgn="base" hangingPunct="0">
              <a:spcBef>
                <a:spcPct val="0"/>
              </a:spcBef>
              <a:spcAft>
                <a:spcPct val="0"/>
              </a:spcAft>
              <a:defRPr sz="2400">
                <a:latin typeface="Arial" charset="0"/>
                <a:ea typeface="ヒラギノ角ゴ Pro W3" pitchFamily="-65" charset="-128"/>
              </a:defRPr>
            </a:lvl9pPr>
          </a:lstStyle>
          <a:p>
            <a:r>
              <a:rPr lang="en-GB" altLang="en-US" dirty="0">
                <a:latin typeface="+mn-lt"/>
              </a:rPr>
              <a:t>Source: Outsmart</a:t>
            </a:r>
          </a:p>
        </p:txBody>
      </p:sp>
      <p:graphicFrame>
        <p:nvGraphicFramePr>
          <p:cNvPr id="11" name="Chart 10">
            <a:extLst>
              <a:ext uri="{FF2B5EF4-FFF2-40B4-BE49-F238E27FC236}">
                <a16:creationId xmlns:a16="http://schemas.microsoft.com/office/drawing/2014/main" id="{00000000-0008-0000-0600-000002000000}"/>
              </a:ext>
            </a:extLst>
          </p:cNvPr>
          <p:cNvGraphicFramePr>
            <a:graphicFrameLocks/>
          </p:cNvGraphicFramePr>
          <p:nvPr>
            <p:extLst>
              <p:ext uri="{D42A27DB-BD31-4B8C-83A1-F6EECF244321}">
                <p14:modId xmlns:p14="http://schemas.microsoft.com/office/powerpoint/2010/main" val="4186184856"/>
              </p:ext>
            </p:extLst>
          </p:nvPr>
        </p:nvGraphicFramePr>
        <p:xfrm>
          <a:off x="438150" y="1127292"/>
          <a:ext cx="11328400" cy="4587708"/>
        </p:xfrm>
        <a:graphic>
          <a:graphicData uri="http://schemas.openxmlformats.org/drawingml/2006/chart">
            <c:chart xmlns:c="http://schemas.openxmlformats.org/drawingml/2006/chart" xmlns:r="http://schemas.openxmlformats.org/officeDocument/2006/relationships" r:id="rId2"/>
          </a:graphicData>
        </a:graphic>
      </p:graphicFrame>
      <p:pic>
        <p:nvPicPr>
          <p:cNvPr id="9" name="Picture 2" descr="Image result for pwc logo">
            <a:extLst>
              <a:ext uri="{FF2B5EF4-FFF2-40B4-BE49-F238E27FC236}">
                <a16:creationId xmlns:a16="http://schemas.microsoft.com/office/drawing/2014/main" id="{C50F0FF4-B890-44A4-8C77-595B1B2BB9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63364" y="6264039"/>
            <a:ext cx="503186" cy="382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54744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438150" y="408720"/>
            <a:ext cx="11328400" cy="610455"/>
          </a:xfrm>
        </p:spPr>
        <p:txBody>
          <a:bodyPr/>
          <a:lstStyle/>
          <a:p>
            <a:r>
              <a:rPr lang="en-GB" altLang="en-US" sz="2200" dirty="0"/>
              <a:t>UK Digital Out of Home Revenue as a % Share of Total Out of Home Revenue</a:t>
            </a:r>
          </a:p>
        </p:txBody>
      </p:sp>
      <p:sp>
        <p:nvSpPr>
          <p:cNvPr id="6" name="Title 1"/>
          <p:cNvSpPr txBox="1">
            <a:spLocks/>
          </p:cNvSpPr>
          <p:nvPr/>
        </p:nvSpPr>
        <p:spPr bwMode="auto">
          <a:xfrm>
            <a:off x="438150" y="5971428"/>
            <a:ext cx="8858440"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nSpc>
                <a:spcPct val="90000"/>
              </a:lnSpc>
              <a:spcBef>
                <a:spcPts val="100"/>
              </a:spcBef>
              <a:defRPr sz="800">
                <a:latin typeface="Arial" charset="0"/>
                <a:ea typeface="ヒラギノ角ゴ Pro W3" pitchFamily="-65" charset="-128"/>
              </a:defRPr>
            </a:lvl1pPr>
            <a:lvl2pPr marL="742950" indent="-285750" eaLnBrk="0" hangingPunct="0">
              <a:defRPr sz="2400">
                <a:latin typeface="Arial" charset="0"/>
                <a:ea typeface="ヒラギノ角ゴ Pro W3" pitchFamily="-65" charset="-128"/>
              </a:defRPr>
            </a:lvl2pPr>
            <a:lvl3pPr marL="1143000" indent="-228600" eaLnBrk="0" hangingPunct="0">
              <a:defRPr sz="2400">
                <a:latin typeface="Arial" charset="0"/>
                <a:ea typeface="ヒラギノ角ゴ Pro W3" pitchFamily="-65" charset="-128"/>
              </a:defRPr>
            </a:lvl3pPr>
            <a:lvl4pPr marL="1600200" indent="-228600" eaLnBrk="0" hangingPunct="0">
              <a:defRPr sz="2400">
                <a:latin typeface="Arial" charset="0"/>
                <a:ea typeface="ヒラギノ角ゴ Pro W3" pitchFamily="-65" charset="-128"/>
              </a:defRPr>
            </a:lvl4pPr>
            <a:lvl5pPr marL="2057400" indent="-228600" eaLnBrk="0" hangingPunct="0">
              <a:defRPr sz="2400">
                <a:latin typeface="Arial" charset="0"/>
                <a:ea typeface="ヒラギノ角ゴ Pro W3" pitchFamily="-65" charset="-128"/>
              </a:defRPr>
            </a:lvl5pPr>
            <a:lvl6pPr marL="2514600" indent="-228600" defTabSz="457200" eaLnBrk="0" fontAlgn="base" hangingPunct="0">
              <a:spcBef>
                <a:spcPct val="0"/>
              </a:spcBef>
              <a:spcAft>
                <a:spcPct val="0"/>
              </a:spcAft>
              <a:defRPr sz="2400">
                <a:latin typeface="Arial" charset="0"/>
                <a:ea typeface="ヒラギノ角ゴ Pro W3" pitchFamily="-65" charset="-128"/>
              </a:defRPr>
            </a:lvl6pPr>
            <a:lvl7pPr marL="2971800" indent="-228600" defTabSz="457200" eaLnBrk="0" fontAlgn="base" hangingPunct="0">
              <a:spcBef>
                <a:spcPct val="0"/>
              </a:spcBef>
              <a:spcAft>
                <a:spcPct val="0"/>
              </a:spcAft>
              <a:defRPr sz="2400">
                <a:latin typeface="Arial" charset="0"/>
                <a:ea typeface="ヒラギノ角ゴ Pro W3" pitchFamily="-65" charset="-128"/>
              </a:defRPr>
            </a:lvl7pPr>
            <a:lvl8pPr marL="3429000" indent="-228600" defTabSz="457200" eaLnBrk="0" fontAlgn="base" hangingPunct="0">
              <a:spcBef>
                <a:spcPct val="0"/>
              </a:spcBef>
              <a:spcAft>
                <a:spcPct val="0"/>
              </a:spcAft>
              <a:defRPr sz="2400">
                <a:latin typeface="Arial" charset="0"/>
                <a:ea typeface="ヒラギノ角ゴ Pro W3" pitchFamily="-65" charset="-128"/>
              </a:defRPr>
            </a:lvl8pPr>
            <a:lvl9pPr marL="3886200" indent="-228600" defTabSz="457200" eaLnBrk="0" fontAlgn="base" hangingPunct="0">
              <a:spcBef>
                <a:spcPct val="0"/>
              </a:spcBef>
              <a:spcAft>
                <a:spcPct val="0"/>
              </a:spcAft>
              <a:defRPr sz="2400">
                <a:latin typeface="Arial" charset="0"/>
                <a:ea typeface="ヒラギノ角ゴ Pro W3" pitchFamily="-65" charset="-128"/>
              </a:defRPr>
            </a:lvl9pPr>
          </a:lstStyle>
          <a:p>
            <a:r>
              <a:rPr lang="en-GB" altLang="en-US" dirty="0">
                <a:latin typeface="+mn-lt"/>
              </a:rPr>
              <a:t>Source: Outsmart</a:t>
            </a:r>
          </a:p>
        </p:txBody>
      </p:sp>
      <p:graphicFrame>
        <p:nvGraphicFramePr>
          <p:cNvPr id="9" name="Chart 8">
            <a:extLst>
              <a:ext uri="{FF2B5EF4-FFF2-40B4-BE49-F238E27FC236}">
                <a16:creationId xmlns:a16="http://schemas.microsoft.com/office/drawing/2014/main" id="{C5F9DFB9-930E-40DF-93EC-FEB9901DED91}"/>
              </a:ext>
            </a:extLst>
          </p:cNvPr>
          <p:cNvGraphicFramePr>
            <a:graphicFrameLocks/>
          </p:cNvGraphicFramePr>
          <p:nvPr>
            <p:extLst>
              <p:ext uri="{D42A27DB-BD31-4B8C-83A1-F6EECF244321}">
                <p14:modId xmlns:p14="http://schemas.microsoft.com/office/powerpoint/2010/main" val="486434683"/>
              </p:ext>
            </p:extLst>
          </p:nvPr>
        </p:nvGraphicFramePr>
        <p:xfrm>
          <a:off x="428624" y="1019175"/>
          <a:ext cx="11328399" cy="4792078"/>
        </p:xfrm>
        <a:graphic>
          <a:graphicData uri="http://schemas.openxmlformats.org/drawingml/2006/chart">
            <c:chart xmlns:c="http://schemas.openxmlformats.org/drawingml/2006/chart" xmlns:r="http://schemas.openxmlformats.org/officeDocument/2006/relationships" r:id="rId3"/>
          </a:graphicData>
        </a:graphic>
      </p:graphicFrame>
      <p:pic>
        <p:nvPicPr>
          <p:cNvPr id="10" name="Picture 2" descr="Image result for pwc logo">
            <a:extLst>
              <a:ext uri="{FF2B5EF4-FFF2-40B4-BE49-F238E27FC236}">
                <a16:creationId xmlns:a16="http://schemas.microsoft.com/office/drawing/2014/main" id="{36962678-A6C8-4135-86E8-9E9118DF824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63364" y="6264039"/>
            <a:ext cx="503186" cy="382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93880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title"/>
          </p:nvPr>
        </p:nvSpPr>
        <p:spPr>
          <a:xfrm>
            <a:off x="438150" y="408720"/>
            <a:ext cx="11328400" cy="610455"/>
          </a:xfrm>
        </p:spPr>
        <p:txBody>
          <a:bodyPr/>
          <a:lstStyle/>
          <a:p>
            <a:r>
              <a:rPr lang="en-GB" altLang="en-US" sz="2200" dirty="0"/>
              <a:t>UK Digital Out of Home Revenue by Quarter</a:t>
            </a:r>
          </a:p>
        </p:txBody>
      </p:sp>
      <p:sp>
        <p:nvSpPr>
          <p:cNvPr id="7" name="Title 1"/>
          <p:cNvSpPr txBox="1">
            <a:spLocks/>
          </p:cNvSpPr>
          <p:nvPr/>
        </p:nvSpPr>
        <p:spPr bwMode="auto">
          <a:xfrm>
            <a:off x="438150" y="5972740"/>
            <a:ext cx="8858440"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nSpc>
                <a:spcPct val="90000"/>
              </a:lnSpc>
              <a:spcBef>
                <a:spcPts val="100"/>
              </a:spcBef>
              <a:defRPr sz="800">
                <a:latin typeface="Arial" charset="0"/>
                <a:ea typeface="ヒラギノ角ゴ Pro W3" pitchFamily="-65" charset="-128"/>
              </a:defRPr>
            </a:lvl1pPr>
            <a:lvl2pPr marL="742950" indent="-285750" eaLnBrk="0" hangingPunct="0">
              <a:defRPr sz="2400">
                <a:latin typeface="Arial" charset="0"/>
                <a:ea typeface="ヒラギノ角ゴ Pro W3" pitchFamily="-65" charset="-128"/>
              </a:defRPr>
            </a:lvl2pPr>
            <a:lvl3pPr marL="1143000" indent="-228600" eaLnBrk="0" hangingPunct="0">
              <a:defRPr sz="2400">
                <a:latin typeface="Arial" charset="0"/>
                <a:ea typeface="ヒラギノ角ゴ Pro W3" pitchFamily="-65" charset="-128"/>
              </a:defRPr>
            </a:lvl3pPr>
            <a:lvl4pPr marL="1600200" indent="-228600" eaLnBrk="0" hangingPunct="0">
              <a:defRPr sz="2400">
                <a:latin typeface="Arial" charset="0"/>
                <a:ea typeface="ヒラギノ角ゴ Pro W3" pitchFamily="-65" charset="-128"/>
              </a:defRPr>
            </a:lvl4pPr>
            <a:lvl5pPr marL="2057400" indent="-228600" eaLnBrk="0" hangingPunct="0">
              <a:defRPr sz="2400">
                <a:latin typeface="Arial" charset="0"/>
                <a:ea typeface="ヒラギノ角ゴ Pro W3" pitchFamily="-65" charset="-128"/>
              </a:defRPr>
            </a:lvl5pPr>
            <a:lvl6pPr marL="2514600" indent="-228600" defTabSz="457200" eaLnBrk="0" fontAlgn="base" hangingPunct="0">
              <a:spcBef>
                <a:spcPct val="0"/>
              </a:spcBef>
              <a:spcAft>
                <a:spcPct val="0"/>
              </a:spcAft>
              <a:defRPr sz="2400">
                <a:latin typeface="Arial" charset="0"/>
                <a:ea typeface="ヒラギノ角ゴ Pro W3" pitchFamily="-65" charset="-128"/>
              </a:defRPr>
            </a:lvl6pPr>
            <a:lvl7pPr marL="2971800" indent="-228600" defTabSz="457200" eaLnBrk="0" fontAlgn="base" hangingPunct="0">
              <a:spcBef>
                <a:spcPct val="0"/>
              </a:spcBef>
              <a:spcAft>
                <a:spcPct val="0"/>
              </a:spcAft>
              <a:defRPr sz="2400">
                <a:latin typeface="Arial" charset="0"/>
                <a:ea typeface="ヒラギノ角ゴ Pro W3" pitchFamily="-65" charset="-128"/>
              </a:defRPr>
            </a:lvl7pPr>
            <a:lvl8pPr marL="3429000" indent="-228600" defTabSz="457200" eaLnBrk="0" fontAlgn="base" hangingPunct="0">
              <a:spcBef>
                <a:spcPct val="0"/>
              </a:spcBef>
              <a:spcAft>
                <a:spcPct val="0"/>
              </a:spcAft>
              <a:defRPr sz="2400">
                <a:latin typeface="Arial" charset="0"/>
                <a:ea typeface="ヒラギノ角ゴ Pro W3" pitchFamily="-65" charset="-128"/>
              </a:defRPr>
            </a:lvl8pPr>
            <a:lvl9pPr marL="3886200" indent="-228600" defTabSz="457200" eaLnBrk="0" fontAlgn="base" hangingPunct="0">
              <a:spcBef>
                <a:spcPct val="0"/>
              </a:spcBef>
              <a:spcAft>
                <a:spcPct val="0"/>
              </a:spcAft>
              <a:defRPr sz="2400">
                <a:latin typeface="Arial" charset="0"/>
                <a:ea typeface="ヒラギノ角ゴ Pro W3" pitchFamily="-65" charset="-128"/>
              </a:defRPr>
            </a:lvl9pPr>
          </a:lstStyle>
          <a:p>
            <a:r>
              <a:rPr lang="en-GB" altLang="en-US" dirty="0">
                <a:latin typeface="+mn-lt"/>
              </a:rPr>
              <a:t>Source: Outsmart</a:t>
            </a:r>
          </a:p>
        </p:txBody>
      </p:sp>
      <p:graphicFrame>
        <p:nvGraphicFramePr>
          <p:cNvPr id="8" name="Chart 7">
            <a:extLst>
              <a:ext uri="{FF2B5EF4-FFF2-40B4-BE49-F238E27FC236}">
                <a16:creationId xmlns:a16="http://schemas.microsoft.com/office/drawing/2014/main" id="{00000000-0008-0000-0800-000002000000}"/>
              </a:ext>
            </a:extLst>
          </p:cNvPr>
          <p:cNvGraphicFramePr>
            <a:graphicFrameLocks/>
          </p:cNvGraphicFramePr>
          <p:nvPr>
            <p:extLst>
              <p:ext uri="{D42A27DB-BD31-4B8C-83A1-F6EECF244321}">
                <p14:modId xmlns:p14="http://schemas.microsoft.com/office/powerpoint/2010/main" val="4063068559"/>
              </p:ext>
            </p:extLst>
          </p:nvPr>
        </p:nvGraphicFramePr>
        <p:xfrm>
          <a:off x="454134" y="1118606"/>
          <a:ext cx="11415983" cy="4694244"/>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2" descr="Image result for pwc logo">
            <a:extLst>
              <a:ext uri="{FF2B5EF4-FFF2-40B4-BE49-F238E27FC236}">
                <a16:creationId xmlns:a16="http://schemas.microsoft.com/office/drawing/2014/main" id="{36F3503D-501B-4252-BCDD-09F96ECBA10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63364" y="6264039"/>
            <a:ext cx="503186" cy="382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24991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150" y="408720"/>
            <a:ext cx="11328400" cy="610455"/>
          </a:xfrm>
        </p:spPr>
        <p:txBody>
          <a:bodyPr/>
          <a:lstStyle/>
          <a:p>
            <a:r>
              <a:rPr lang="en-GB" altLang="en-US" sz="2200" dirty="0"/>
              <a:t>UK Digital Out of Home Revenue by Quarter and Environment</a:t>
            </a:r>
          </a:p>
        </p:txBody>
      </p:sp>
      <p:sp>
        <p:nvSpPr>
          <p:cNvPr id="6" name="Title 1"/>
          <p:cNvSpPr txBox="1">
            <a:spLocks/>
          </p:cNvSpPr>
          <p:nvPr/>
        </p:nvSpPr>
        <p:spPr bwMode="auto">
          <a:xfrm>
            <a:off x="438150" y="5973078"/>
            <a:ext cx="8858440"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nSpc>
                <a:spcPct val="90000"/>
              </a:lnSpc>
              <a:spcBef>
                <a:spcPts val="100"/>
              </a:spcBef>
              <a:defRPr sz="800">
                <a:latin typeface="Arial" charset="0"/>
                <a:ea typeface="ヒラギノ角ゴ Pro W3" pitchFamily="-65" charset="-128"/>
              </a:defRPr>
            </a:lvl1pPr>
            <a:lvl2pPr marL="742950" indent="-285750" eaLnBrk="0" hangingPunct="0">
              <a:defRPr sz="2400">
                <a:latin typeface="Arial" charset="0"/>
                <a:ea typeface="ヒラギノ角ゴ Pro W3" pitchFamily="-65" charset="-128"/>
              </a:defRPr>
            </a:lvl2pPr>
            <a:lvl3pPr marL="1143000" indent="-228600" eaLnBrk="0" hangingPunct="0">
              <a:defRPr sz="2400">
                <a:latin typeface="Arial" charset="0"/>
                <a:ea typeface="ヒラギノ角ゴ Pro W3" pitchFamily="-65" charset="-128"/>
              </a:defRPr>
            </a:lvl3pPr>
            <a:lvl4pPr marL="1600200" indent="-228600" eaLnBrk="0" hangingPunct="0">
              <a:defRPr sz="2400">
                <a:latin typeface="Arial" charset="0"/>
                <a:ea typeface="ヒラギノ角ゴ Pro W3" pitchFamily="-65" charset="-128"/>
              </a:defRPr>
            </a:lvl4pPr>
            <a:lvl5pPr marL="2057400" indent="-228600" eaLnBrk="0" hangingPunct="0">
              <a:defRPr sz="2400">
                <a:latin typeface="Arial" charset="0"/>
                <a:ea typeface="ヒラギノ角ゴ Pro W3" pitchFamily="-65" charset="-128"/>
              </a:defRPr>
            </a:lvl5pPr>
            <a:lvl6pPr marL="2514600" indent="-228600" defTabSz="457200" eaLnBrk="0" fontAlgn="base" hangingPunct="0">
              <a:spcBef>
                <a:spcPct val="0"/>
              </a:spcBef>
              <a:spcAft>
                <a:spcPct val="0"/>
              </a:spcAft>
              <a:defRPr sz="2400">
                <a:latin typeface="Arial" charset="0"/>
                <a:ea typeface="ヒラギノ角ゴ Pro W3" pitchFamily="-65" charset="-128"/>
              </a:defRPr>
            </a:lvl6pPr>
            <a:lvl7pPr marL="2971800" indent="-228600" defTabSz="457200" eaLnBrk="0" fontAlgn="base" hangingPunct="0">
              <a:spcBef>
                <a:spcPct val="0"/>
              </a:spcBef>
              <a:spcAft>
                <a:spcPct val="0"/>
              </a:spcAft>
              <a:defRPr sz="2400">
                <a:latin typeface="Arial" charset="0"/>
                <a:ea typeface="ヒラギノ角ゴ Pro W3" pitchFamily="-65" charset="-128"/>
              </a:defRPr>
            </a:lvl7pPr>
            <a:lvl8pPr marL="3429000" indent="-228600" defTabSz="457200" eaLnBrk="0" fontAlgn="base" hangingPunct="0">
              <a:spcBef>
                <a:spcPct val="0"/>
              </a:spcBef>
              <a:spcAft>
                <a:spcPct val="0"/>
              </a:spcAft>
              <a:defRPr sz="2400">
                <a:latin typeface="Arial" charset="0"/>
                <a:ea typeface="ヒラギノ角ゴ Pro W3" pitchFamily="-65" charset="-128"/>
              </a:defRPr>
            </a:lvl8pPr>
            <a:lvl9pPr marL="3886200" indent="-228600" defTabSz="457200" eaLnBrk="0" fontAlgn="base" hangingPunct="0">
              <a:spcBef>
                <a:spcPct val="0"/>
              </a:spcBef>
              <a:spcAft>
                <a:spcPct val="0"/>
              </a:spcAft>
              <a:defRPr sz="2400">
                <a:latin typeface="Arial" charset="0"/>
                <a:ea typeface="ヒラギノ角ゴ Pro W3" pitchFamily="-65" charset="-128"/>
              </a:defRPr>
            </a:lvl9pPr>
          </a:lstStyle>
          <a:p>
            <a:pPr marL="0" marR="0" lvl="0" indent="0" algn="l" defTabSz="914400" rtl="0" eaLnBrk="1" fontAlgn="auto" latinLnBrk="0" hangingPunct="1">
              <a:lnSpc>
                <a:spcPct val="90000"/>
              </a:lnSpc>
              <a:spcBef>
                <a:spcPts val="100"/>
              </a:spcBef>
              <a:spcAft>
                <a:spcPts val="0"/>
              </a:spcAft>
              <a:buClrTx/>
              <a:buSzTx/>
              <a:buFontTx/>
              <a:buNone/>
              <a:tabLst/>
              <a:defRPr/>
            </a:pPr>
            <a:r>
              <a:rPr kumimoji="0" lang="en-GB" altLang="en-US" sz="800" b="0" i="0" u="none" strike="noStrike" kern="1200" cap="none" spc="0" normalizeH="0" baseline="0" noProof="0" dirty="0">
                <a:ln>
                  <a:noFill/>
                </a:ln>
                <a:solidFill>
                  <a:srgbClr val="7A7D81"/>
                </a:solidFill>
                <a:effectLst/>
                <a:uLnTx/>
                <a:uFillTx/>
                <a:latin typeface="Century Schoolbook"/>
                <a:ea typeface="ヒラギノ角ゴ Pro W3" pitchFamily="-65" charset="-128"/>
                <a:cs typeface="+mn-cs"/>
              </a:rPr>
              <a:t>Source: Outsmart</a:t>
            </a:r>
            <a:endParaRPr kumimoji="0" lang="en-US" altLang="en-US" sz="100" b="0" i="0" u="none" strike="noStrike" kern="1200" cap="none" spc="0" normalizeH="0" baseline="0" noProof="0" dirty="0">
              <a:ln>
                <a:noFill/>
              </a:ln>
              <a:solidFill>
                <a:srgbClr val="7A7D81"/>
              </a:solidFill>
              <a:effectLst/>
              <a:uLnTx/>
              <a:uFillTx/>
              <a:latin typeface="Century Schoolbook"/>
              <a:ea typeface="ヒラギノ角ゴ Pro W3" pitchFamily="-65" charset="-128"/>
              <a:cs typeface="+mn-cs"/>
            </a:endParaRPr>
          </a:p>
        </p:txBody>
      </p:sp>
      <p:graphicFrame>
        <p:nvGraphicFramePr>
          <p:cNvPr id="8" name="Chart 7">
            <a:extLst>
              <a:ext uri="{FF2B5EF4-FFF2-40B4-BE49-F238E27FC236}">
                <a16:creationId xmlns:a16="http://schemas.microsoft.com/office/drawing/2014/main" id="{1E904A65-BE3C-45CC-807B-417FC50B4536}"/>
              </a:ext>
            </a:extLst>
          </p:cNvPr>
          <p:cNvGraphicFramePr>
            <a:graphicFrameLocks/>
          </p:cNvGraphicFramePr>
          <p:nvPr>
            <p:extLst>
              <p:ext uri="{D42A27DB-BD31-4B8C-83A1-F6EECF244321}">
                <p14:modId xmlns:p14="http://schemas.microsoft.com/office/powerpoint/2010/main" val="2280155371"/>
              </p:ext>
            </p:extLst>
          </p:nvPr>
        </p:nvGraphicFramePr>
        <p:xfrm>
          <a:off x="438150" y="1019175"/>
          <a:ext cx="11055857" cy="4695825"/>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2" descr="Image result for pwc logo">
            <a:extLst>
              <a:ext uri="{FF2B5EF4-FFF2-40B4-BE49-F238E27FC236}">
                <a16:creationId xmlns:a16="http://schemas.microsoft.com/office/drawing/2014/main" id="{9C729779-E6FC-4284-A20B-DA88A1E1F95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263364" y="6264039"/>
            <a:ext cx="503186" cy="382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3526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 name="LASTSLIDEVIEWED" val="309,4,UK Out of Home Advertising Revenue Split by Environmen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utSmart">
  <a:themeElements>
    <a:clrScheme name="OutSmart">
      <a:dk1>
        <a:srgbClr val="7A7D81"/>
      </a:dk1>
      <a:lt1>
        <a:sysClr val="window" lastClr="FFFFFF"/>
      </a:lt1>
      <a:dk2>
        <a:srgbClr val="A2B2C8"/>
      </a:dk2>
      <a:lt2>
        <a:srgbClr val="F6F5EE"/>
      </a:lt2>
      <a:accent1>
        <a:srgbClr val="8B2CB1"/>
      </a:accent1>
      <a:accent2>
        <a:srgbClr val="FF7E0E"/>
      </a:accent2>
      <a:accent3>
        <a:srgbClr val="99C900"/>
      </a:accent3>
      <a:accent4>
        <a:srgbClr val="00C6B7"/>
      </a:accent4>
      <a:accent5>
        <a:srgbClr val="E31C79"/>
      </a:accent5>
      <a:accent6>
        <a:srgbClr val="7A7D81"/>
      </a:accent6>
      <a:hlink>
        <a:srgbClr val="E31C79"/>
      </a:hlink>
      <a:folHlink>
        <a:srgbClr val="1D1D1B"/>
      </a:folHlink>
    </a:clrScheme>
    <a:fontScheme name="Outsmart">
      <a:majorFont>
        <a:latin typeface="Arial"/>
        <a:ea typeface=""/>
        <a:cs typeface=""/>
      </a:majorFont>
      <a:minorFont>
        <a:latin typeface="Century School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400" dirty="0" err="1"/>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933</TotalTime>
  <Words>298</Words>
  <Application>Microsoft Office PowerPoint</Application>
  <PresentationFormat>Custom</PresentationFormat>
  <Paragraphs>30</Paragraphs>
  <Slides>10</Slides>
  <Notes>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5" baseType="lpstr">
      <vt:lpstr>Arial</vt:lpstr>
      <vt:lpstr>Calibri</vt:lpstr>
      <vt:lpstr>Century Schoolbook</vt:lpstr>
      <vt:lpstr>OutSmart</vt:lpstr>
      <vt:lpstr>think-cell Slide</vt:lpstr>
      <vt:lpstr>PowerPoint Presentation</vt:lpstr>
      <vt:lpstr>UK Out of Home Advertising Revenue</vt:lpstr>
      <vt:lpstr>UK Out of Home Revenue by Quarter</vt:lpstr>
      <vt:lpstr>UK Out of Home Advertising Revenue Split by Environment</vt:lpstr>
      <vt:lpstr>PowerPoint Presentation</vt:lpstr>
      <vt:lpstr>UK Digital Out of Home Revenue</vt:lpstr>
      <vt:lpstr>UK Digital Out of Home Revenue as a % Share of Total Out of Home Revenue</vt:lpstr>
      <vt:lpstr>UK Digital Out of Home Revenue by Quarter</vt:lpstr>
      <vt:lpstr>UK Digital Out of Home Revenue by Quarter and Environment</vt:lpstr>
      <vt:lpstr>Disclaime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thony Batt</dc:creator>
  <cp:lastModifiedBy>Izzy Jones (UK)</cp:lastModifiedBy>
  <cp:revision>334</cp:revision>
  <cp:lastPrinted>2015-12-01T08:51:32Z</cp:lastPrinted>
  <dcterms:created xsi:type="dcterms:W3CDTF">2015-08-31T12:50:51Z</dcterms:created>
  <dcterms:modified xsi:type="dcterms:W3CDTF">2024-03-18T10:33:30Z</dcterms:modified>
</cp:coreProperties>
</file>